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v" ContentType="video/x-ms-wmv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4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5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355" r:id="rId5"/>
    <p:sldMasterId id="2147484419" r:id="rId6"/>
    <p:sldMasterId id="2147484444" r:id="rId7"/>
    <p:sldMasterId id="2147484464" r:id="rId8"/>
    <p:sldMasterId id="2147484487" r:id="rId9"/>
  </p:sldMasterIdLst>
  <p:notesMasterIdLst>
    <p:notesMasterId r:id="rId17"/>
  </p:notesMasterIdLst>
  <p:handoutMasterIdLst>
    <p:handoutMasterId r:id="rId18"/>
  </p:handoutMasterIdLst>
  <p:sldIdLst>
    <p:sldId id="465" r:id="rId10"/>
    <p:sldId id="466" r:id="rId11"/>
    <p:sldId id="472" r:id="rId12"/>
    <p:sldId id="468" r:id="rId13"/>
    <p:sldId id="476" r:id="rId14"/>
    <p:sldId id="475" r:id="rId15"/>
    <p:sldId id="469" r:id="rId16"/>
  </p:sldIdLst>
  <p:sldSz cx="12190413" cy="6858000"/>
  <p:notesSz cx="6888163" cy="10020300"/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93">
          <p15:clr>
            <a:srgbClr val="A4A3A4"/>
          </p15:clr>
        </p15:guide>
        <p15:guide id="3" pos="619">
          <p15:clr>
            <a:srgbClr val="A4A3A4"/>
          </p15:clr>
        </p15:guide>
        <p15:guide id="15" orient="horz" pos="2455" userDrawn="1">
          <p15:clr>
            <a:srgbClr val="A4A3A4"/>
          </p15:clr>
        </p15:guide>
        <p15:guide id="16" orient="horz" pos="2704">
          <p15:clr>
            <a:srgbClr val="A4A3A4"/>
          </p15:clr>
        </p15:guide>
        <p15:guide id="17" orient="horz" pos="4086">
          <p15:clr>
            <a:srgbClr val="A4A3A4"/>
          </p15:clr>
        </p15:guide>
        <p15:guide id="18" orient="horz" pos="2591" userDrawn="1">
          <p15:clr>
            <a:srgbClr val="A4A3A4"/>
          </p15:clr>
        </p15:guide>
        <p15:guide id="19" pos="7422">
          <p15:clr>
            <a:srgbClr val="A4A3A4"/>
          </p15:clr>
        </p15:guide>
        <p15:guide id="20" pos="2149">
          <p15:clr>
            <a:srgbClr val="A4A3A4"/>
          </p15:clr>
        </p15:guide>
        <p15:guide id="21" pos="3908">
          <p15:clr>
            <a:srgbClr val="A4A3A4"/>
          </p15:clr>
        </p15:guide>
        <p15:guide id="22" pos="2376">
          <p15:clr>
            <a:srgbClr val="A4A3A4"/>
          </p15:clr>
        </p15:guide>
        <p15:guide id="23" pos="5666">
          <p15:clr>
            <a:srgbClr val="A4A3A4"/>
          </p15:clr>
        </p15:guide>
        <p15:guide id="24" pos="5894">
          <p15:clr>
            <a:srgbClr val="A4A3A4"/>
          </p15:clr>
        </p15:guide>
        <p15:guide id="25" pos="4134">
          <p15:clr>
            <a:srgbClr val="A4A3A4"/>
          </p15:clr>
        </p15:guide>
        <p15:guide id="26" pos="4020">
          <p15:clr>
            <a:srgbClr val="A4A3A4"/>
          </p15:clr>
        </p15:guide>
        <p15:guide id="27" orient="horz" pos="3699">
          <p15:clr>
            <a:srgbClr val="A4A3A4"/>
          </p15:clr>
        </p15:guide>
        <p15:guide id="28" orient="horz" pos="335">
          <p15:clr>
            <a:srgbClr val="A4A3A4"/>
          </p15:clr>
        </p15:guide>
        <p15:guide id="29" orient="horz" pos="886">
          <p15:clr>
            <a:srgbClr val="A4A3A4"/>
          </p15:clr>
        </p15:guide>
        <p15:guide id="30" orient="horz" pos="2276">
          <p15:clr>
            <a:srgbClr val="A4A3A4"/>
          </p15:clr>
        </p15:guide>
        <p15:guide id="31" orient="horz" pos="3984">
          <p15:clr>
            <a:srgbClr val="A4A3A4"/>
          </p15:clr>
        </p15:guide>
        <p15:guide id="32" pos="4294">
          <p15:clr>
            <a:srgbClr val="A4A3A4"/>
          </p15:clr>
        </p15:guide>
        <p15:guide id="33" pos="7347">
          <p15:clr>
            <a:srgbClr val="A4A3A4"/>
          </p15:clr>
        </p15:guide>
        <p15:guide id="34" pos="201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857">
          <p15:clr>
            <a:srgbClr val="A4A3A4"/>
          </p15:clr>
        </p15:guide>
        <p15:guide id="4" pos="196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udger Schlueter" initials="LS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9D329"/>
    <a:srgbClr val="D30F4B"/>
    <a:srgbClr val="443247"/>
    <a:srgbClr val="0A66C2"/>
    <a:srgbClr val="10384F"/>
    <a:srgbClr val="000000"/>
    <a:srgbClr val="00BCFF"/>
    <a:srgbClr val="76B726"/>
    <a:srgbClr val="AFD8EF"/>
    <a:srgbClr val="1879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D607474-BCE3-4C8A-8D79-A9BA0550CF50}" v="12" dt="2021-11-24T10:57:42.564"/>
    <p1510:client id="{E7A9E5AE-6EF4-4CBB-8CFE-28CDA7C493EC}" v="5" dt="2021-11-24T11:28:36.13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90" autoAdjust="0"/>
    <p:restoredTop sz="94438" autoAdjust="0"/>
  </p:normalViewPr>
  <p:slideViewPr>
    <p:cSldViewPr snapToGrid="0">
      <p:cViewPr varScale="1">
        <p:scale>
          <a:sx n="77" d="100"/>
          <a:sy n="77" d="100"/>
        </p:scale>
        <p:origin x="816" y="62"/>
      </p:cViewPr>
      <p:guideLst>
        <p:guide orient="horz" pos="1093"/>
        <p:guide pos="619"/>
        <p:guide orient="horz" pos="2455"/>
        <p:guide orient="horz" pos="2704"/>
        <p:guide orient="horz" pos="4086"/>
        <p:guide orient="horz" pos="2591"/>
        <p:guide pos="7422"/>
        <p:guide pos="2149"/>
        <p:guide pos="3908"/>
        <p:guide pos="2376"/>
        <p:guide pos="5666"/>
        <p:guide pos="5894"/>
        <p:guide pos="4134"/>
        <p:guide pos="4020"/>
        <p:guide orient="horz" pos="3699"/>
        <p:guide orient="horz" pos="335"/>
        <p:guide orient="horz" pos="886"/>
        <p:guide orient="horz" pos="2276"/>
        <p:guide orient="horz" pos="3984"/>
        <p:guide pos="4294"/>
        <p:guide pos="7347"/>
        <p:guide pos="201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-4476" y="-1230"/>
      </p:cViewPr>
      <p:guideLst>
        <p:guide orient="horz" pos="2880"/>
        <p:guide pos="2160"/>
        <p:guide orient="horz" pos="2857"/>
        <p:guide pos="196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4.xml"/><Relationship Id="rId18" Type="http://schemas.openxmlformats.org/officeDocument/2006/relationships/handoutMaster" Target="handoutMasters/handout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notesMaster" Target="notesMasters/notesMaster1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2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6.xml"/><Relationship Id="rId23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5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Olena Antonova" userId="63d37801-bf4d-424f-928a-a9bd1f368ced" providerId="ADAL" clId="{E7A9E5AE-6EF4-4CBB-8CFE-28CDA7C493EC}"/>
    <pc:docChg chg="custSel modMainMaster">
      <pc:chgData name="Olena Antonova" userId="63d37801-bf4d-424f-928a-a9bd1f368ced" providerId="ADAL" clId="{E7A9E5AE-6EF4-4CBB-8CFE-28CDA7C493EC}" dt="2021-11-24T11:28:36.131" v="9"/>
      <pc:docMkLst>
        <pc:docMk/>
      </pc:docMkLst>
      <pc:sldMasterChg chg="delSp mod">
        <pc:chgData name="Olena Antonova" userId="63d37801-bf4d-424f-928a-a9bd1f368ced" providerId="ADAL" clId="{E7A9E5AE-6EF4-4CBB-8CFE-28CDA7C493EC}" dt="2021-11-24T11:28:36.131" v="1"/>
        <pc:sldMasterMkLst>
          <pc:docMk/>
          <pc:sldMasterMk cId="381456129" sldId="2147484355"/>
        </pc:sldMasterMkLst>
        <pc:spChg chg="del">
          <ac:chgData name="Olena Antonova" userId="63d37801-bf4d-424f-928a-a9bd1f368ced" providerId="ADAL" clId="{E7A9E5AE-6EF4-4CBB-8CFE-28CDA7C493EC}" dt="2021-11-24T11:28:36.131" v="1"/>
          <ac:spMkLst>
            <pc:docMk/>
            <pc:sldMasterMk cId="381456129" sldId="2147484355"/>
            <ac:spMk id="8" creationId="{9437A242-6ECA-4A6A-B6E5-D35DDE4E1C72}"/>
          </ac:spMkLst>
        </pc:spChg>
      </pc:sldMasterChg>
      <pc:sldMasterChg chg="delSp mod">
        <pc:chgData name="Olena Antonova" userId="63d37801-bf4d-424f-928a-a9bd1f368ced" providerId="ADAL" clId="{E7A9E5AE-6EF4-4CBB-8CFE-28CDA7C493EC}" dt="2021-11-24T11:28:36.131" v="3"/>
        <pc:sldMasterMkLst>
          <pc:docMk/>
          <pc:sldMasterMk cId="3085518053" sldId="2147484419"/>
        </pc:sldMasterMkLst>
        <pc:spChg chg="del">
          <ac:chgData name="Olena Antonova" userId="63d37801-bf4d-424f-928a-a9bd1f368ced" providerId="ADAL" clId="{E7A9E5AE-6EF4-4CBB-8CFE-28CDA7C493EC}" dt="2021-11-24T11:28:36.131" v="3"/>
          <ac:spMkLst>
            <pc:docMk/>
            <pc:sldMasterMk cId="3085518053" sldId="2147484419"/>
            <ac:spMk id="8" creationId="{58173CEB-8173-4637-A6F4-B50FA4D906EF}"/>
          </ac:spMkLst>
        </pc:spChg>
      </pc:sldMasterChg>
      <pc:sldMasterChg chg="delSp mod">
        <pc:chgData name="Olena Antonova" userId="63d37801-bf4d-424f-928a-a9bd1f368ced" providerId="ADAL" clId="{E7A9E5AE-6EF4-4CBB-8CFE-28CDA7C493EC}" dt="2021-11-24T11:28:36.131" v="5"/>
        <pc:sldMasterMkLst>
          <pc:docMk/>
          <pc:sldMasterMk cId="611372915" sldId="2147484444"/>
        </pc:sldMasterMkLst>
        <pc:spChg chg="del">
          <ac:chgData name="Olena Antonova" userId="63d37801-bf4d-424f-928a-a9bd1f368ced" providerId="ADAL" clId="{E7A9E5AE-6EF4-4CBB-8CFE-28CDA7C493EC}" dt="2021-11-24T11:28:36.131" v="5"/>
          <ac:spMkLst>
            <pc:docMk/>
            <pc:sldMasterMk cId="611372915" sldId="2147484444"/>
            <ac:spMk id="8" creationId="{38CAD84F-E0C3-4B7C-AB19-9C3F5CC75AB9}"/>
          </ac:spMkLst>
        </pc:spChg>
      </pc:sldMasterChg>
      <pc:sldMasterChg chg="delSp mod">
        <pc:chgData name="Olena Antonova" userId="63d37801-bf4d-424f-928a-a9bd1f368ced" providerId="ADAL" clId="{E7A9E5AE-6EF4-4CBB-8CFE-28CDA7C493EC}" dt="2021-11-24T11:28:36.131" v="7"/>
        <pc:sldMasterMkLst>
          <pc:docMk/>
          <pc:sldMasterMk cId="2856077646" sldId="2147484464"/>
        </pc:sldMasterMkLst>
        <pc:spChg chg="del">
          <ac:chgData name="Olena Antonova" userId="63d37801-bf4d-424f-928a-a9bd1f368ced" providerId="ADAL" clId="{E7A9E5AE-6EF4-4CBB-8CFE-28CDA7C493EC}" dt="2021-11-24T11:28:36.131" v="7"/>
          <ac:spMkLst>
            <pc:docMk/>
            <pc:sldMasterMk cId="2856077646" sldId="2147484464"/>
            <ac:spMk id="8" creationId="{F5301E04-660F-4986-A894-71FAF0F24E78}"/>
          </ac:spMkLst>
        </pc:spChg>
      </pc:sldMasterChg>
      <pc:sldMasterChg chg="delSp mod">
        <pc:chgData name="Olena Antonova" userId="63d37801-bf4d-424f-928a-a9bd1f368ced" providerId="ADAL" clId="{E7A9E5AE-6EF4-4CBB-8CFE-28CDA7C493EC}" dt="2021-11-24T11:28:36.131" v="9"/>
        <pc:sldMasterMkLst>
          <pc:docMk/>
          <pc:sldMasterMk cId="3714610888" sldId="2147484487"/>
        </pc:sldMasterMkLst>
        <pc:spChg chg="del">
          <ac:chgData name="Olena Antonova" userId="63d37801-bf4d-424f-928a-a9bd1f368ced" providerId="ADAL" clId="{E7A9E5AE-6EF4-4CBB-8CFE-28CDA7C493EC}" dt="2021-11-24T11:28:36.131" v="9"/>
          <ac:spMkLst>
            <pc:docMk/>
            <pc:sldMasterMk cId="3714610888" sldId="2147484487"/>
            <ac:spMk id="8" creationId="{45D1B7E1-90C2-4781-A152-A2F6DAF2405B}"/>
          </ac:spMkLst>
        </pc:sp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82216" y="176715"/>
            <a:ext cx="5983605" cy="178569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2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216864" y="9671310"/>
            <a:ext cx="492259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11/24/2021</a:t>
            </a:fld>
            <a:endParaRPr lang="en-US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494926" y="9671310"/>
            <a:ext cx="5567925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175703" y="9671310"/>
            <a:ext cx="190528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341769" y="192454"/>
            <a:ext cx="364262" cy="364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05931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emf"/><Relationship Id="rId1" Type="http://schemas.openxmlformats.org/officeDocument/2006/relationships/theme" Target="../theme/theme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153988" y="617538"/>
            <a:ext cx="3292475" cy="1852612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txBody>
          <a:bodyPr vert="horz" lIns="87598" tIns="43799" rIns="87598" bIns="4379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192788" y="2938490"/>
            <a:ext cx="6506513" cy="646503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99933" y="183269"/>
            <a:ext cx="5900408" cy="185193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4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157508" y="9658526"/>
            <a:ext cx="540250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11/24/2021</a:t>
            </a:fld>
            <a:endParaRPr lang="en-US"/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4"/>
          </p:nvPr>
        </p:nvSpPr>
        <p:spPr bwMode="gray">
          <a:xfrm>
            <a:off x="547782" y="9658526"/>
            <a:ext cx="5465661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192834" y="9658526"/>
            <a:ext cx="208896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98071" y="2056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774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8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buFontTx/>
      <a:buBlip>
        <a:blip r:embed="rId3"/>
      </a:buBlip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buFontTx/>
      <a:buBlip>
        <a:blip r:embed="rId4"/>
      </a:buBlip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buFontTx/>
      <a:buBlip>
        <a:blip r:embed="rId5"/>
      </a:buBlip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BD2C90-BBA0-46EC-8B01-B5FB30F66FDA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13118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BD2C90-BBA0-46EC-8B01-B5FB30F66FDA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2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16990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BD2C90-BBA0-46EC-8B01-B5FB30F66FDA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3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0893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BD2C90-BBA0-46EC-8B01-B5FB30F66FDA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1547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BD2C90-BBA0-46EC-8B01-B5FB30F66FDA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1547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BD2C90-BBA0-46EC-8B01-B5FB30F66FDA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31547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2F3CE37-8989-471A-BC57-D3CAAD03839D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05456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5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0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9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0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5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7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9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0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8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5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9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0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1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6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8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9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0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1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64F98AF-80E4-4C6D-AD88-102B763BBD0A}" type="datetime1">
              <a:rPr lang="en-US" smtClean="0"/>
              <a:t>11/2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360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575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BBADB8C-CC93-4EB1-BCE7-4BF95830865E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16:9 Template Chart Pool /// September 2019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097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09949" y="1473902"/>
            <a:ext cx="4140000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111" y="1"/>
            <a:ext cx="2593510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84689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39926" y="0"/>
            <a:ext cx="645048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8387" y="2989333"/>
            <a:ext cx="4500000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0484789-3553-4E69-9520-B5127771C648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16:9 Template Chart Pool /// September 2019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190" y="2134650"/>
            <a:ext cx="4500000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824533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344" y="1462158"/>
            <a:ext cx="450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A8CBB93-B62B-4042-B51F-97A1C83EDEEE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16:9 Template Chart Pool /// September 2019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5681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608" y="1"/>
            <a:ext cx="414884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081425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1D69867-9232-4ACB-AE60-60D17315360A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16:9 Template Chart Pool /// September 2019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820" y="1732751"/>
            <a:ext cx="10798461" cy="475199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996296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B061987-9731-4D9F-959D-BFEAFA5FF42C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16:9 Template Chart Pool /// September 2019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981820" y="1732750"/>
            <a:ext cx="5220000" cy="475200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6559603" y="1732750"/>
            <a:ext cx="5220000" cy="475200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618027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7" pos="7423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152702C-223D-47ED-B3DB-8B0B43F56A27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16:9 Template Chart Pool /// September 2019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820" y="3892749"/>
            <a:ext cx="5220000" cy="259200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719" y="3892749"/>
            <a:ext cx="522000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1820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59719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028372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245F6BB-4EFF-4A68-A73E-538E55FAC11A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16:9 Template Chart Pool /// September 2019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375425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2" orient="horz" pos="2478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282" y="1052513"/>
            <a:ext cx="10800000" cy="5432237"/>
          </a:xfrm>
        </p:spPr>
        <p:txBody>
          <a:bodyPr bIns="0"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20A7378-9D00-4965-AA3F-1782D45D941B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16:9 Template Chart Pool /// September 2019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724592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96A41FC-8006-4FAB-9B7F-3A48F4A8F7B7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September 2019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2190413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619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19" y="1732422"/>
            <a:ext cx="538149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E5FFB78-93B4-49A7-834A-FD7DB68366AD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September 2019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19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FF3162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176802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F0569C7-04E8-47EB-AD5F-B6D60AB81DD2}" type="datetime1">
              <a:rPr lang="en-US" smtClean="0"/>
              <a:t>11/24/2021</a:t>
            </a:fld>
            <a:endParaRPr lang="en-US"/>
          </a:p>
        </p:txBody>
      </p:sp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 bwMode="gray">
          <a:xfrm>
            <a:off x="11008070" y="612964"/>
            <a:ext cx="392326" cy="108000"/>
          </a:xfrm>
        </p:spPr>
        <p:txBody>
          <a:bodyPr/>
          <a:lstStyle>
            <a:lvl1pPr algn="r">
              <a:defRPr/>
            </a:lvl1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89235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2" orient="horz" pos="2478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1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3401CB8-4AA1-4551-B937-F68F091E261D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September 2019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00BCFF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089709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0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3FAC40B-1F0A-4A71-BE6F-607908DD1BC2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September 2019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89D329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003261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673278D-A9BB-4021-96F2-AF076789F5AE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September 2019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841" y="0"/>
            <a:ext cx="8114953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8374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2F133E9-EA92-440E-BF78-02EDCC06A670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September 2019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842" y="0"/>
            <a:ext cx="8114954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4"/>
              <a:gd name="connsiteY0" fmla="*/ 0 h 6858000"/>
              <a:gd name="connsiteX1" fmla="*/ 8112573 w 8114954"/>
              <a:gd name="connsiteY1" fmla="*/ 0 h 6858000"/>
              <a:gd name="connsiteX2" fmla="*/ 8114954 w 8114954"/>
              <a:gd name="connsiteY2" fmla="*/ 6003672 h 6858000"/>
              <a:gd name="connsiteX3" fmla="*/ 3275459 w 8114954"/>
              <a:gd name="connsiteY3" fmla="*/ 6858000 h 6858000"/>
              <a:gd name="connsiteX4" fmla="*/ 0 w 8114954"/>
              <a:gd name="connsiteY4" fmla="*/ 6858000 h 6858000"/>
              <a:gd name="connsiteX5" fmla="*/ 1341581 w 811495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4" y="4090554"/>
                  <a:pt x="8114954" y="600367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35305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A988B46-4F28-4F44-8800-5AD108B6718D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September 2019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841" y="0"/>
            <a:ext cx="8112573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6001292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257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2572" y="4088174"/>
                  <a:pt x="8112572" y="600129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197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(3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0682F5-D540-4F7E-A44F-370516830E3A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BE895F2-A43B-4C2A-B5D8-174787E0331D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September 2019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FF3162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05FA33A-AA9A-408D-825F-3DD716E743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112871" y="0"/>
            <a:ext cx="3984707" cy="6858000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0D031B8-1221-4B6F-92FB-4684EFA4710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805884" y="0"/>
            <a:ext cx="3995338" cy="6858000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57" name="Picture Placeholder 56">
            <a:extLst>
              <a:ext uri="{FF2B5EF4-FFF2-40B4-BE49-F238E27FC236}">
                <a16:creationId xmlns:a16="http://schemas.microsoft.com/office/drawing/2014/main" id="{FCA7AC5F-6522-4DEE-BA7A-D67ED03A7E2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9585640" y="0"/>
            <a:ext cx="2607154" cy="646392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</a:t>
            </a:r>
            <a:br>
              <a:rPr lang="en-US" dirty="0"/>
            </a:br>
            <a:r>
              <a:rPr lang="en-US" dirty="0"/>
              <a:t>add picture</a:t>
            </a:r>
            <a:endParaRPr lang="de-DE" dirty="0"/>
          </a:p>
        </p:txBody>
      </p:sp>
      <p:sp>
        <p:nvSpPr>
          <p:cNvPr id="7" name="MIO_VALID_LAYOUT" hidden="1">
            <a:extLst>
              <a:ext uri="{FF2B5EF4-FFF2-40B4-BE49-F238E27FC236}">
                <a16:creationId xmlns:a16="http://schemas.microsoft.com/office/drawing/2014/main" id="{1D22FA5E-0BC7-4401-A5BD-77730EA9E1A3}"/>
              </a:ext>
            </a:extLst>
          </p:cNvPr>
          <p:cNvSpPr/>
          <p:nvPr userDrawn="1"/>
        </p:nvSpPr>
        <p:spPr bwMode="gray">
          <a:xfrm>
            <a:off x="69574" y="0"/>
            <a:ext cx="198783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Logoschutz" hidden="1">
            <a:extLst>
              <a:ext uri="{FF2B5EF4-FFF2-40B4-BE49-F238E27FC236}">
                <a16:creationId xmlns:a16="http://schemas.microsoft.com/office/drawing/2014/main" id="{4023B47B-B6DF-4539-AC89-0228A14ED20B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135328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2 (3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9220508-5ADA-4A6A-922B-DF9E02A1AAED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September 2019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00BCFF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3BEC00A-2D48-4013-B391-8772109AC8D8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D2C6F70-E75D-475F-B419-269CCB1A79F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112871" y="0"/>
            <a:ext cx="3984707" cy="6858000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9BAE79B-A563-4FC7-B9F7-A23D4B7F095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805884" y="0"/>
            <a:ext cx="3995338" cy="6858000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Picture Placeholder 56">
            <a:extLst>
              <a:ext uri="{FF2B5EF4-FFF2-40B4-BE49-F238E27FC236}">
                <a16:creationId xmlns:a16="http://schemas.microsoft.com/office/drawing/2014/main" id="{F2288D79-07BA-4239-B9FD-72BB7BF32D5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9585640" y="0"/>
            <a:ext cx="2607154" cy="646392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</a:t>
            </a:r>
            <a:br>
              <a:rPr lang="en-US" dirty="0"/>
            </a:br>
            <a:r>
              <a:rPr lang="en-US" dirty="0"/>
              <a:t>add picture</a:t>
            </a:r>
            <a:endParaRPr lang="de-DE" dirty="0"/>
          </a:p>
        </p:txBody>
      </p:sp>
      <p:sp>
        <p:nvSpPr>
          <p:cNvPr id="14" name="MIO_VALID_LAYOUT" hidden="1">
            <a:extLst>
              <a:ext uri="{FF2B5EF4-FFF2-40B4-BE49-F238E27FC236}">
                <a16:creationId xmlns:a16="http://schemas.microsoft.com/office/drawing/2014/main" id="{A56B1E33-75AC-4D5C-833A-CA5C8008C847}"/>
              </a:ext>
            </a:extLst>
          </p:cNvPr>
          <p:cNvSpPr/>
          <p:nvPr userDrawn="1"/>
        </p:nvSpPr>
        <p:spPr bwMode="gray">
          <a:xfrm>
            <a:off x="69574" y="0"/>
            <a:ext cx="198783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Logoschutz" hidden="1">
            <a:extLst>
              <a:ext uri="{FF2B5EF4-FFF2-40B4-BE49-F238E27FC236}">
                <a16:creationId xmlns:a16="http://schemas.microsoft.com/office/drawing/2014/main" id="{AFC5990D-0BBE-4F16-8156-3BC1019B8FD3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066442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3 (2)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10AB4230-369D-4542-B3C5-03CE5493B708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September 2019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89D329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4A0C1F59-2627-48DB-B813-67C0C96836A6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78D98E1-86F9-4336-BA66-00637C7D39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5319371" cy="6858000"/>
          </a:xfrm>
          <a:custGeom>
            <a:avLst/>
            <a:gdLst>
              <a:gd name="connsiteX0" fmla="*/ 1331361 w 5319371"/>
              <a:gd name="connsiteY0" fmla="*/ 0 h 6858000"/>
              <a:gd name="connsiteX1" fmla="*/ 5319371 w 5319371"/>
              <a:gd name="connsiteY1" fmla="*/ 0 h 6858000"/>
              <a:gd name="connsiteX2" fmla="*/ 4021306 w 5319371"/>
              <a:gd name="connsiteY2" fmla="*/ 6720150 h 6858000"/>
              <a:gd name="connsiteX3" fmla="*/ 3240429 w 5319371"/>
              <a:gd name="connsiteY3" fmla="*/ 6858000 h 6858000"/>
              <a:gd name="connsiteX4" fmla="*/ 0 w 531937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9371" h="6858000">
                <a:moveTo>
                  <a:pt x="1331361" y="0"/>
                </a:moveTo>
                <a:lnTo>
                  <a:pt x="5319371" y="0"/>
                </a:lnTo>
                <a:lnTo>
                  <a:pt x="4021306" y="6720150"/>
                </a:ln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161357F-2910-4222-B505-2D7DEB797B5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68342" y="1"/>
            <a:ext cx="4024452" cy="6714119"/>
          </a:xfrm>
          <a:custGeom>
            <a:avLst/>
            <a:gdLst>
              <a:gd name="connsiteX0" fmla="*/ 1296899 w 4024452"/>
              <a:gd name="connsiteY0" fmla="*/ 0 h 6714119"/>
              <a:gd name="connsiteX1" fmla="*/ 4022072 w 4024452"/>
              <a:gd name="connsiteY1" fmla="*/ 0 h 6714119"/>
              <a:gd name="connsiteX2" fmla="*/ 4024452 w 4024452"/>
              <a:gd name="connsiteY2" fmla="*/ 6003673 h 6714119"/>
              <a:gd name="connsiteX3" fmla="*/ 0 w 4024452"/>
              <a:gd name="connsiteY3" fmla="*/ 6714119 h 6714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24452" h="6714119">
                <a:moveTo>
                  <a:pt x="1296899" y="0"/>
                </a:moveTo>
                <a:lnTo>
                  <a:pt x="4022072" y="0"/>
                </a:lnTo>
                <a:cubicBezTo>
                  <a:pt x="4022072" y="1913118"/>
                  <a:pt x="4024452" y="4090555"/>
                  <a:pt x="4024452" y="6003673"/>
                </a:cubicBezTo>
                <a:lnTo>
                  <a:pt x="0" y="6714119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05CFF861-772E-4656-ABE4-7D87D4F4C674}"/>
              </a:ext>
            </a:extLst>
          </p:cNvPr>
          <p:cNvSpPr/>
          <p:nvPr userDrawn="1"/>
        </p:nvSpPr>
        <p:spPr bwMode="gray">
          <a:xfrm>
            <a:off x="69574" y="0"/>
            <a:ext cx="198783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Logoschutz" hidden="1">
            <a:extLst>
              <a:ext uri="{FF2B5EF4-FFF2-40B4-BE49-F238E27FC236}">
                <a16:creationId xmlns:a16="http://schemas.microsoft.com/office/drawing/2014/main" id="{2084BB78-79FB-4CB4-A04F-33335C5A37FC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01711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2 (2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A9D9A6A-62A0-4BC7-8DDB-7DBFE0CDCF29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September 2019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00BCFF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272248F4-D57F-4E6B-A274-F3F5D798CFE4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079C2DF-F453-4691-84F9-7E45AA5EB11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5319371" cy="6858000"/>
          </a:xfrm>
          <a:custGeom>
            <a:avLst/>
            <a:gdLst>
              <a:gd name="connsiteX0" fmla="*/ 1331361 w 5319371"/>
              <a:gd name="connsiteY0" fmla="*/ 0 h 6858000"/>
              <a:gd name="connsiteX1" fmla="*/ 5319371 w 5319371"/>
              <a:gd name="connsiteY1" fmla="*/ 0 h 6858000"/>
              <a:gd name="connsiteX2" fmla="*/ 4021306 w 5319371"/>
              <a:gd name="connsiteY2" fmla="*/ 6720150 h 6858000"/>
              <a:gd name="connsiteX3" fmla="*/ 3240429 w 5319371"/>
              <a:gd name="connsiteY3" fmla="*/ 6858000 h 6858000"/>
              <a:gd name="connsiteX4" fmla="*/ 0 w 531937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19371" h="6858000">
                <a:moveTo>
                  <a:pt x="1331361" y="0"/>
                </a:moveTo>
                <a:lnTo>
                  <a:pt x="5319371" y="0"/>
                </a:lnTo>
                <a:lnTo>
                  <a:pt x="4021306" y="6720150"/>
                </a:ln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2293B0D-E408-4808-A94C-A6610765504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 bwMode="gray">
          <a:xfrm>
            <a:off x="8168342" y="1"/>
            <a:ext cx="4024452" cy="6714119"/>
          </a:xfrm>
          <a:custGeom>
            <a:avLst/>
            <a:gdLst>
              <a:gd name="connsiteX0" fmla="*/ 1296899 w 4024452"/>
              <a:gd name="connsiteY0" fmla="*/ 0 h 6714119"/>
              <a:gd name="connsiteX1" fmla="*/ 4022072 w 4024452"/>
              <a:gd name="connsiteY1" fmla="*/ 0 h 6714119"/>
              <a:gd name="connsiteX2" fmla="*/ 4024452 w 4024452"/>
              <a:gd name="connsiteY2" fmla="*/ 6003673 h 6714119"/>
              <a:gd name="connsiteX3" fmla="*/ 0 w 4024452"/>
              <a:gd name="connsiteY3" fmla="*/ 6714119 h 67141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24452" h="6714119">
                <a:moveTo>
                  <a:pt x="1296899" y="0"/>
                </a:moveTo>
                <a:lnTo>
                  <a:pt x="4022072" y="0"/>
                </a:lnTo>
                <a:cubicBezTo>
                  <a:pt x="4022072" y="1913118"/>
                  <a:pt x="4024452" y="4090555"/>
                  <a:pt x="4024452" y="6003673"/>
                </a:cubicBezTo>
                <a:lnTo>
                  <a:pt x="0" y="6714119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MIO_VALID_LAYOUT" hidden="1">
            <a:extLst>
              <a:ext uri="{FF2B5EF4-FFF2-40B4-BE49-F238E27FC236}">
                <a16:creationId xmlns:a16="http://schemas.microsoft.com/office/drawing/2014/main" id="{045F628E-EF81-4C30-95D7-14E0BE347581}"/>
              </a:ext>
            </a:extLst>
          </p:cNvPr>
          <p:cNvSpPr/>
          <p:nvPr userDrawn="1"/>
        </p:nvSpPr>
        <p:spPr bwMode="gray">
          <a:xfrm>
            <a:off x="69574" y="0"/>
            <a:ext cx="198783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Logoschutz" hidden="1">
            <a:extLst>
              <a:ext uri="{FF2B5EF4-FFF2-40B4-BE49-F238E27FC236}">
                <a16:creationId xmlns:a16="http://schemas.microsoft.com/office/drawing/2014/main" id="{F203CA6A-2D43-41D0-ADBB-9AA558993DE8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461418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3 (3)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1A2AD2D-89E9-4DF5-99DB-C71F124DB032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September 2019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89D329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10F45FFE-96B1-40C5-A292-0CA94D34D065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1B2855E-6374-4E16-B969-06FB4FD6A6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112871" y="0"/>
            <a:ext cx="3984707" cy="6858000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95279B28-8E9A-48EF-BBFA-EB5F09F244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805884" y="0"/>
            <a:ext cx="3995338" cy="6858000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Picture Placeholder 56">
            <a:extLst>
              <a:ext uri="{FF2B5EF4-FFF2-40B4-BE49-F238E27FC236}">
                <a16:creationId xmlns:a16="http://schemas.microsoft.com/office/drawing/2014/main" id="{3DF0ABB8-43C5-486B-97C5-606C5882130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9585640" y="0"/>
            <a:ext cx="2607154" cy="646392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</a:t>
            </a:r>
            <a:br>
              <a:rPr lang="en-US" dirty="0"/>
            </a:br>
            <a:r>
              <a:rPr lang="en-US" dirty="0"/>
              <a:t>add picture</a:t>
            </a:r>
            <a:endParaRPr lang="de-DE" dirty="0"/>
          </a:p>
        </p:txBody>
      </p:sp>
      <p:sp>
        <p:nvSpPr>
          <p:cNvPr id="14" name="MIO_VALID_LAYOUT" hidden="1">
            <a:extLst>
              <a:ext uri="{FF2B5EF4-FFF2-40B4-BE49-F238E27FC236}">
                <a16:creationId xmlns:a16="http://schemas.microsoft.com/office/drawing/2014/main" id="{0465EA00-3EFA-4E02-9E94-4A0C46405631}"/>
              </a:ext>
            </a:extLst>
          </p:cNvPr>
          <p:cNvSpPr/>
          <p:nvPr userDrawn="1"/>
        </p:nvSpPr>
        <p:spPr bwMode="gray">
          <a:xfrm>
            <a:off x="69574" y="0"/>
            <a:ext cx="198783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Logoschutz" hidden="1">
            <a:extLst>
              <a:ext uri="{FF2B5EF4-FFF2-40B4-BE49-F238E27FC236}">
                <a16:creationId xmlns:a16="http://schemas.microsoft.com/office/drawing/2014/main" id="{0E4D9B70-294B-4EEF-9E60-A1B22BE16F42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5233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F0569C7-04E8-47EB-AD5F-B6D60AB81DD2}" type="datetime1">
              <a:rPr lang="en-US" smtClean="0"/>
              <a:t>11/2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737612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2" orient="horz" pos="2478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453184E-21E7-418F-A1EC-A49E8D1E2D3B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FF3162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572434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CB09DE6-6C5C-466A-98EE-CF45D40F0870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00BCFF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860397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99CCC57-2F27-4712-AC15-A35FC57882C5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89D329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128463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6765" y="403540"/>
            <a:ext cx="9624002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337" y="1843721"/>
            <a:ext cx="4680000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EB53ADF-5111-40B8-BD25-E86AF4ED5048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672" y="6617933"/>
            <a:ext cx="5710665" cy="108000"/>
          </a:xfrm>
        </p:spPr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16:9 Template /// Septem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4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832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7804236" y="1"/>
            <a:ext cx="4386177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964463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575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ACA9DDE-6CF4-4C99-A2B7-6AB362D7B47D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16:9 Template /// Septem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097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09949" y="1473902"/>
            <a:ext cx="4140000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111" y="1"/>
            <a:ext cx="2593510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897352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39926" y="0"/>
            <a:ext cx="645048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8387" y="2989333"/>
            <a:ext cx="4500000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C4C773C-56E9-4938-AEBD-712BC038121E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16:9 Template /// Septem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190" y="2134650"/>
            <a:ext cx="4500000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285886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344" y="1462158"/>
            <a:ext cx="450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309FE29-4079-4042-82D4-30F65321BBEB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16:9 Template /// Septem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5681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608" y="1"/>
            <a:ext cx="414884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125841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6166E1B-5D18-476A-8C5F-E90A4ECE4845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16:9 Template /// Septem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820" y="1732751"/>
            <a:ext cx="10798461" cy="475199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265731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EDDFC53-89AB-4BE8-8EEE-3EC422BCF930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16:9 Template /// Septem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981820" y="1732750"/>
            <a:ext cx="5220000" cy="475200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6559603" y="1732750"/>
            <a:ext cx="5220000" cy="475200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710882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13F43FA-A88D-45CF-A998-B7633C7E9A49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16:9 Template /// Septem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820" y="3892749"/>
            <a:ext cx="5220000" cy="259200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719" y="3892749"/>
            <a:ext cx="522000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1820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59719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241511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64F98AF-80E4-4C6D-AD88-102B763BBD0A}" type="datetime1">
              <a:rPr lang="en-US" smtClean="0"/>
              <a:t>11/2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051993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DB8775-8226-4E8C-BBBC-5A871E3E17A7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16:9 Template /// Septem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582225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2" orient="horz" pos="2478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282" y="1052513"/>
            <a:ext cx="10800000" cy="5432237"/>
          </a:xfrm>
        </p:spPr>
        <p:txBody>
          <a:bodyPr bIns="0"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096B027-38B9-43F7-A592-83EA0A775820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16:9 Template /// Septem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870287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4F30451-A35E-4E06-ABE9-57892F294C45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2190413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0553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19" y="1732422"/>
            <a:ext cx="538149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3BDA798-F8E0-4709-A972-C462B33FAF2F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19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FF3162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646809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1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8FB917D-8BDA-4646-85F0-B3EB7EC9AA4C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00BCFF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766263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0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3C03279-9369-4B60-857C-CA23090BD5EE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89D329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812171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2 (3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77C2840-BFC1-453D-B379-5AD544CD1512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00BCFF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3BEC00A-2D48-4013-B391-8772109AC8D8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D2C6F70-E75D-475F-B419-269CCB1A79F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112871" y="0"/>
            <a:ext cx="3984707" cy="6858000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9BAE79B-A563-4FC7-B9F7-A23D4B7F095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805884" y="0"/>
            <a:ext cx="3995338" cy="6858000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Picture Placeholder 56">
            <a:extLst>
              <a:ext uri="{FF2B5EF4-FFF2-40B4-BE49-F238E27FC236}">
                <a16:creationId xmlns:a16="http://schemas.microsoft.com/office/drawing/2014/main" id="{F2288D79-07BA-4239-B9FD-72BB7BF32D5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9585640" y="0"/>
            <a:ext cx="2607154" cy="646392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</a:t>
            </a:r>
            <a:br>
              <a:rPr lang="en-US" dirty="0"/>
            </a:br>
            <a:r>
              <a:rPr lang="en-US" dirty="0"/>
              <a:t>add picture</a:t>
            </a:r>
            <a:endParaRPr lang="de-DE" dirty="0"/>
          </a:p>
        </p:txBody>
      </p:sp>
      <p:sp>
        <p:nvSpPr>
          <p:cNvPr id="14" name="MIO_VALID_LAYOUT" hidden="1">
            <a:extLst>
              <a:ext uri="{FF2B5EF4-FFF2-40B4-BE49-F238E27FC236}">
                <a16:creationId xmlns:a16="http://schemas.microsoft.com/office/drawing/2014/main" id="{A56B1E33-75AC-4D5C-833A-CA5C8008C847}"/>
              </a:ext>
            </a:extLst>
          </p:cNvPr>
          <p:cNvSpPr/>
          <p:nvPr userDrawn="1"/>
        </p:nvSpPr>
        <p:spPr bwMode="gray">
          <a:xfrm>
            <a:off x="69574" y="0"/>
            <a:ext cx="198783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Logoschutz" hidden="1">
            <a:extLst>
              <a:ext uri="{FF2B5EF4-FFF2-40B4-BE49-F238E27FC236}">
                <a16:creationId xmlns:a16="http://schemas.microsoft.com/office/drawing/2014/main" id="{AFC5990D-0BBE-4F16-8156-3BC1019B8FD3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588889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3 (3)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7B81ACC-194C-4138-87A4-0FE22490C9A1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89D329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10F45FFE-96B1-40C5-A292-0CA94D34D065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1B2855E-6374-4E16-B969-06FB4FD6A6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112871" y="0"/>
            <a:ext cx="3984707" cy="6858000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95279B28-8E9A-48EF-BBFA-EB5F09F244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805884" y="0"/>
            <a:ext cx="3995338" cy="6858000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Picture Placeholder 56">
            <a:extLst>
              <a:ext uri="{FF2B5EF4-FFF2-40B4-BE49-F238E27FC236}">
                <a16:creationId xmlns:a16="http://schemas.microsoft.com/office/drawing/2014/main" id="{3DF0ABB8-43C5-486B-97C5-606C5882130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9585640" y="0"/>
            <a:ext cx="2607154" cy="646392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</a:t>
            </a:r>
            <a:br>
              <a:rPr lang="en-US" dirty="0"/>
            </a:br>
            <a:r>
              <a:rPr lang="en-US" dirty="0"/>
              <a:t>add picture</a:t>
            </a:r>
            <a:endParaRPr lang="de-DE" dirty="0"/>
          </a:p>
        </p:txBody>
      </p:sp>
      <p:sp>
        <p:nvSpPr>
          <p:cNvPr id="14" name="MIO_VALID_LAYOUT" hidden="1">
            <a:extLst>
              <a:ext uri="{FF2B5EF4-FFF2-40B4-BE49-F238E27FC236}">
                <a16:creationId xmlns:a16="http://schemas.microsoft.com/office/drawing/2014/main" id="{0465EA00-3EFA-4E02-9E94-4A0C46405631}"/>
              </a:ext>
            </a:extLst>
          </p:cNvPr>
          <p:cNvSpPr/>
          <p:nvPr userDrawn="1"/>
        </p:nvSpPr>
        <p:spPr bwMode="gray">
          <a:xfrm>
            <a:off x="69574" y="0"/>
            <a:ext cx="198783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Logoschutz" hidden="1">
            <a:extLst>
              <a:ext uri="{FF2B5EF4-FFF2-40B4-BE49-F238E27FC236}">
                <a16:creationId xmlns:a16="http://schemas.microsoft.com/office/drawing/2014/main" id="{0E4D9B70-294B-4EEF-9E60-A1B22BE16F42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986232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ED9FCB3-9B29-42A8-A735-DBF9B3C4108B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FF3162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841" y="0"/>
            <a:ext cx="8114953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4502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453184E-21E7-418F-A1EC-A49E8D1E2D3B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FF3162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8065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19" y="1732422"/>
            <a:ext cx="538149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3BDA798-F8E0-4709-A972-C462B33FAF2F}" type="datetime1">
              <a:rPr lang="en-US" smtClean="0"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19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740948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CB09DE6-6C5C-466A-98EE-CF45D40F0870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00BCFF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116799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99CCC57-2F27-4712-AC15-A35FC57882C5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89D329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720521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6765" y="403540"/>
            <a:ext cx="9624002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337" y="1843721"/>
            <a:ext cx="4680000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EB53ADF-5111-40B8-BD25-E86AF4ED5048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672" y="6617933"/>
            <a:ext cx="5710665" cy="108000"/>
          </a:xfrm>
        </p:spPr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16:9 Template /// Septem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4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832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7804236" y="1"/>
            <a:ext cx="4386177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418403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575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ACA9DDE-6CF4-4C99-A2B7-6AB362D7B47D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16:9 Template /// Septem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097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09949" y="1473902"/>
            <a:ext cx="4140000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111" y="1"/>
            <a:ext cx="2593510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264537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39926" y="0"/>
            <a:ext cx="645048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8387" y="2989333"/>
            <a:ext cx="4500000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C4C773C-56E9-4938-AEBD-712BC038121E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16:9 Template /// Septem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190" y="2134650"/>
            <a:ext cx="4500000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050623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344" y="1462158"/>
            <a:ext cx="450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309FE29-4079-4042-82D4-30F65321BBEB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16:9 Template /// Septem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5681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608" y="1"/>
            <a:ext cx="414884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234225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6166E1B-5D18-476A-8C5F-E90A4ECE4845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16:9 Template /// Septem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820" y="1732751"/>
            <a:ext cx="10798461" cy="475199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198357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EDDFC53-89AB-4BE8-8EEE-3EC422BCF930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16:9 Template /// Septem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981820" y="1732750"/>
            <a:ext cx="5220000" cy="475200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6559603" y="1732750"/>
            <a:ext cx="5220000" cy="475200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176779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13F43FA-A88D-45CF-A998-B7633C7E9A49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16:9 Template /// Septem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820" y="3892749"/>
            <a:ext cx="5220000" cy="259200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719" y="3892749"/>
            <a:ext cx="522000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1820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59719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609313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DB8775-8226-4E8C-BBBC-5A871E3E17A7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16:9 Template /// Septem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651719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2" orient="horz" pos="2478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A7C5E0F-441B-4C64-8FC1-1611F415B7CC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September 2019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FF3162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672292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282" y="1052513"/>
            <a:ext cx="10800000" cy="5432237"/>
          </a:xfrm>
        </p:spPr>
        <p:txBody>
          <a:bodyPr bIns="0"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096B027-38B9-43F7-A592-83EA0A775820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16:9 Template /// Septem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985781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4F30451-A35E-4E06-ABE9-57892F294C45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2190413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7050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19" y="1732422"/>
            <a:ext cx="538149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3BDA798-F8E0-4709-A972-C462B33FAF2F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19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FF3162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125909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1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8FB917D-8BDA-4646-85F0-B3EB7EC9AA4C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00BCFF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614895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0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3C03279-9369-4B60-857C-CA23090BD5EE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89D329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195742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2 (3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77C2840-BFC1-453D-B379-5AD544CD1512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00BCFF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3BEC00A-2D48-4013-B391-8772109AC8D8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D2C6F70-E75D-475F-B419-269CCB1A79F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112871" y="0"/>
            <a:ext cx="3984707" cy="6858000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9BAE79B-A563-4FC7-B9F7-A23D4B7F095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805884" y="0"/>
            <a:ext cx="3995338" cy="6858000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Picture Placeholder 56">
            <a:extLst>
              <a:ext uri="{FF2B5EF4-FFF2-40B4-BE49-F238E27FC236}">
                <a16:creationId xmlns:a16="http://schemas.microsoft.com/office/drawing/2014/main" id="{F2288D79-07BA-4239-B9FD-72BB7BF32D5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9585640" y="0"/>
            <a:ext cx="2607154" cy="646392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</a:t>
            </a:r>
            <a:br>
              <a:rPr lang="en-US" dirty="0"/>
            </a:br>
            <a:r>
              <a:rPr lang="en-US" dirty="0"/>
              <a:t>add picture</a:t>
            </a:r>
            <a:endParaRPr lang="de-DE" dirty="0"/>
          </a:p>
        </p:txBody>
      </p:sp>
      <p:sp>
        <p:nvSpPr>
          <p:cNvPr id="14" name="MIO_VALID_LAYOUT" hidden="1">
            <a:extLst>
              <a:ext uri="{FF2B5EF4-FFF2-40B4-BE49-F238E27FC236}">
                <a16:creationId xmlns:a16="http://schemas.microsoft.com/office/drawing/2014/main" id="{A56B1E33-75AC-4D5C-833A-CA5C8008C847}"/>
              </a:ext>
            </a:extLst>
          </p:cNvPr>
          <p:cNvSpPr/>
          <p:nvPr userDrawn="1"/>
        </p:nvSpPr>
        <p:spPr bwMode="gray">
          <a:xfrm>
            <a:off x="69574" y="0"/>
            <a:ext cx="198783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Logoschutz" hidden="1">
            <a:extLst>
              <a:ext uri="{FF2B5EF4-FFF2-40B4-BE49-F238E27FC236}">
                <a16:creationId xmlns:a16="http://schemas.microsoft.com/office/drawing/2014/main" id="{AFC5990D-0BBE-4F16-8156-3BC1019B8FD3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288824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3 (3)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7B81ACC-194C-4138-87A4-0FE22490C9A1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89D329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10F45FFE-96B1-40C5-A292-0CA94D34D065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1B2855E-6374-4E16-B969-06FB4FD6A6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112871" y="0"/>
            <a:ext cx="3984707" cy="6858000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95279B28-8E9A-48EF-BBFA-EB5F09F244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805884" y="0"/>
            <a:ext cx="3995338" cy="6858000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Picture Placeholder 56">
            <a:extLst>
              <a:ext uri="{FF2B5EF4-FFF2-40B4-BE49-F238E27FC236}">
                <a16:creationId xmlns:a16="http://schemas.microsoft.com/office/drawing/2014/main" id="{3DF0ABB8-43C5-486B-97C5-606C5882130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9585640" y="0"/>
            <a:ext cx="2607154" cy="646392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</a:t>
            </a:r>
            <a:br>
              <a:rPr lang="en-US" dirty="0"/>
            </a:br>
            <a:r>
              <a:rPr lang="en-US" dirty="0"/>
              <a:t>add picture</a:t>
            </a:r>
            <a:endParaRPr lang="de-DE" dirty="0"/>
          </a:p>
        </p:txBody>
      </p:sp>
      <p:sp>
        <p:nvSpPr>
          <p:cNvPr id="14" name="MIO_VALID_LAYOUT" hidden="1">
            <a:extLst>
              <a:ext uri="{FF2B5EF4-FFF2-40B4-BE49-F238E27FC236}">
                <a16:creationId xmlns:a16="http://schemas.microsoft.com/office/drawing/2014/main" id="{0465EA00-3EFA-4E02-9E94-4A0C46405631}"/>
              </a:ext>
            </a:extLst>
          </p:cNvPr>
          <p:cNvSpPr/>
          <p:nvPr userDrawn="1"/>
        </p:nvSpPr>
        <p:spPr bwMode="gray">
          <a:xfrm>
            <a:off x="69574" y="0"/>
            <a:ext cx="198783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Logoschutz" hidden="1">
            <a:extLst>
              <a:ext uri="{FF2B5EF4-FFF2-40B4-BE49-F238E27FC236}">
                <a16:creationId xmlns:a16="http://schemas.microsoft.com/office/drawing/2014/main" id="{0E4D9B70-294B-4EEF-9E60-A1B22BE16F42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586617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ED9FCB3-9B29-42A8-A735-DBF9B3C4108B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FF3162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841" y="0"/>
            <a:ext cx="8114953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8351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453184E-21E7-418F-A1EC-A49E8D1E2D3B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FF3162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341445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CB09DE6-6C5C-466A-98EE-CF45D40F0870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00BCFF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749079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C87635B-AC58-4F15-86E5-1A32B4428496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September 2019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00BCFF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731432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99CCC57-2F27-4712-AC15-A35FC57882C5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89D329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163340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6765" y="403540"/>
            <a:ext cx="9624002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337" y="1843721"/>
            <a:ext cx="4680000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3EB53ADF-5111-40B8-BD25-E86AF4ED5048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672" y="6617933"/>
            <a:ext cx="5710665" cy="108000"/>
          </a:xfrm>
        </p:spPr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16:9 Template /// Septem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4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832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7804236" y="1"/>
            <a:ext cx="4386177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92542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575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ACA9DDE-6CF4-4C99-A2B7-6AB362D7B47D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16:9 Template /// Septem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097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09949" y="1473902"/>
            <a:ext cx="4140000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111" y="1"/>
            <a:ext cx="2593510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103624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39926" y="0"/>
            <a:ext cx="645048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8387" y="2989333"/>
            <a:ext cx="4500000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C4C773C-56E9-4938-AEBD-712BC038121E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16:9 Template /// Septem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190" y="2134650"/>
            <a:ext cx="4500000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225816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0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344" y="1462158"/>
            <a:ext cx="4500000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309FE29-4079-4042-82D4-30F65321BBEB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>
                <a:solidFill>
                  <a:srgbClr val="FFFFFF"/>
                </a:solidFill>
              </a:rPr>
              <a:t>/// Bayer 16:9 Template /// September 2018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5681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608" y="1"/>
            <a:ext cx="414884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87775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6166E1B-5D18-476A-8C5F-E90A4ECE4845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16:9 Template /// Septem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820" y="1732751"/>
            <a:ext cx="10798461" cy="4751999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968380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EDDFC53-89AB-4BE8-8EEE-3EC422BCF930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16:9 Template /// Septem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981820" y="1732750"/>
            <a:ext cx="5220000" cy="475200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6559603" y="1732750"/>
            <a:ext cx="5220000" cy="475200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249949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13F43FA-A88D-45CF-A998-B7633C7E9A49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16:9 Template /// Septem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820" y="3892749"/>
            <a:ext cx="5220000" cy="2592001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719" y="3892749"/>
            <a:ext cx="522000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1820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59719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399731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DB8775-8226-4E8C-BBBC-5A871E3E17A7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16:9 Template /// Septem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112347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2" orient="horz" pos="2478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282" y="1052513"/>
            <a:ext cx="10800000" cy="5432237"/>
          </a:xfrm>
        </p:spPr>
        <p:txBody>
          <a:bodyPr bIns="0"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096B027-38B9-43F7-A592-83EA0A775820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16:9 Template /// Septem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702115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15AA7C9-DBC2-42F1-B911-B71563F4B677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Chart Pool /// September 2019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89D329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2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411013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4F30451-A35E-4E06-ABE9-57892F294C45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2190413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9903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19" y="1732422"/>
            <a:ext cx="538149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3BDA798-F8E0-4709-A972-C462B33FAF2F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19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FF3162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699292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1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8FB917D-8BDA-4646-85F0-B3EB7EC9AA4C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00BCFF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82326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0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0" y="1732757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3C03279-9369-4B60-857C-CA23090BD5EE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89D329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0276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2 (3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577C2840-BFC1-453D-B379-5AD544CD1512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00BCFF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3BEC00A-2D48-4013-B391-8772109AC8D8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D2C6F70-E75D-475F-B419-269CCB1A79F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112871" y="0"/>
            <a:ext cx="3984707" cy="6858000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9BAE79B-A563-4FC7-B9F7-A23D4B7F095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805884" y="0"/>
            <a:ext cx="3995338" cy="6858000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Picture Placeholder 56">
            <a:extLst>
              <a:ext uri="{FF2B5EF4-FFF2-40B4-BE49-F238E27FC236}">
                <a16:creationId xmlns:a16="http://schemas.microsoft.com/office/drawing/2014/main" id="{F2288D79-07BA-4239-B9FD-72BB7BF32D5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9585640" y="0"/>
            <a:ext cx="2607154" cy="646392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</a:t>
            </a:r>
            <a:br>
              <a:rPr lang="en-US" dirty="0"/>
            </a:br>
            <a:r>
              <a:rPr lang="en-US" dirty="0"/>
              <a:t>add picture</a:t>
            </a:r>
            <a:endParaRPr lang="de-DE" dirty="0"/>
          </a:p>
        </p:txBody>
      </p:sp>
      <p:sp>
        <p:nvSpPr>
          <p:cNvPr id="14" name="MIO_VALID_LAYOUT" hidden="1">
            <a:extLst>
              <a:ext uri="{FF2B5EF4-FFF2-40B4-BE49-F238E27FC236}">
                <a16:creationId xmlns:a16="http://schemas.microsoft.com/office/drawing/2014/main" id="{A56B1E33-75AC-4D5C-833A-CA5C8008C847}"/>
              </a:ext>
            </a:extLst>
          </p:cNvPr>
          <p:cNvSpPr/>
          <p:nvPr userDrawn="1"/>
        </p:nvSpPr>
        <p:spPr bwMode="gray">
          <a:xfrm>
            <a:off x="69574" y="0"/>
            <a:ext cx="198783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Logoschutz" hidden="1">
            <a:extLst>
              <a:ext uri="{FF2B5EF4-FFF2-40B4-BE49-F238E27FC236}">
                <a16:creationId xmlns:a16="http://schemas.microsoft.com/office/drawing/2014/main" id="{AFC5990D-0BBE-4F16-8156-3BC1019B8FD3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811931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3 (3)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7B81ACC-194C-4138-87A4-0FE22490C9A1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89D329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10F45FFE-96B1-40C5-A292-0CA94D34D065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1B2855E-6374-4E16-B969-06FB4FD6A6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112871" y="0"/>
            <a:ext cx="3984707" cy="6858000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95279B28-8E9A-48EF-BBFA-EB5F09F244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805884" y="0"/>
            <a:ext cx="3995338" cy="6858000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Picture Placeholder 56">
            <a:extLst>
              <a:ext uri="{FF2B5EF4-FFF2-40B4-BE49-F238E27FC236}">
                <a16:creationId xmlns:a16="http://schemas.microsoft.com/office/drawing/2014/main" id="{3DF0ABB8-43C5-486B-97C5-606C5882130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9585640" y="0"/>
            <a:ext cx="2607154" cy="646392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</a:t>
            </a:r>
            <a:br>
              <a:rPr lang="en-US" dirty="0"/>
            </a:br>
            <a:r>
              <a:rPr lang="en-US" dirty="0"/>
              <a:t>add picture</a:t>
            </a:r>
            <a:endParaRPr lang="de-DE" dirty="0"/>
          </a:p>
        </p:txBody>
      </p:sp>
      <p:sp>
        <p:nvSpPr>
          <p:cNvPr id="14" name="MIO_VALID_LAYOUT" hidden="1">
            <a:extLst>
              <a:ext uri="{FF2B5EF4-FFF2-40B4-BE49-F238E27FC236}">
                <a16:creationId xmlns:a16="http://schemas.microsoft.com/office/drawing/2014/main" id="{0465EA00-3EFA-4E02-9E94-4A0C46405631}"/>
              </a:ext>
            </a:extLst>
          </p:cNvPr>
          <p:cNvSpPr/>
          <p:nvPr userDrawn="1"/>
        </p:nvSpPr>
        <p:spPr bwMode="gray">
          <a:xfrm>
            <a:off x="69574" y="0"/>
            <a:ext cx="198783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5" name="Logoschutz" hidden="1">
            <a:extLst>
              <a:ext uri="{FF2B5EF4-FFF2-40B4-BE49-F238E27FC236}">
                <a16:creationId xmlns:a16="http://schemas.microsoft.com/office/drawing/2014/main" id="{0E4D9B70-294B-4EEF-9E60-A1B22BE16F42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836936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ED9FCB3-9B29-42A8-A735-DBF9B3C4108B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0" y="2424948"/>
            <a:ext cx="3620357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 defTabSz="915680">
              <a:defRPr/>
            </a:pPr>
            <a:r>
              <a:rPr lang="en-US" sz="1051" kern="0" dirty="0">
                <a:solidFill>
                  <a:srgbClr val="FF3162"/>
                </a:solidFill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8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7841" y="0"/>
            <a:ext cx="8114953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0910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6765" y="403540"/>
            <a:ext cx="9624002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337" y="1843721"/>
            <a:ext cx="4680000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DB1133B7-795C-4187-A16B-041C85A92459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672" y="6617933"/>
            <a:ext cx="5710665" cy="108000"/>
          </a:xfrm>
        </p:spPr>
        <p:txBody>
          <a:bodyPr/>
          <a:lstStyle/>
          <a:p>
            <a:r>
              <a:rPr lang="en-US">
                <a:solidFill>
                  <a:srgbClr val="10384F"/>
                </a:solidFill>
              </a:rPr>
              <a:t>/// Bayer 16:9 Template Chart Pool /// September 2019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4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832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7804236" y="1"/>
            <a:ext cx="4386177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000000"/>
                </a:solidFill>
              </a:endParaRPr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rgbClr val="000000"/>
                </a:solidFill>
              </a:rPr>
              <a:t>Logo</a:t>
            </a:r>
          </a:p>
          <a:p>
            <a:pPr algn="ctr"/>
            <a:r>
              <a:rPr lang="de-DE" dirty="0">
                <a:solidFill>
                  <a:srgbClr val="000000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221505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26" Type="http://schemas.openxmlformats.org/officeDocument/2006/relationships/tags" Target="../tags/tag8.xml"/><Relationship Id="rId3" Type="http://schemas.openxmlformats.org/officeDocument/2006/relationships/slideLayout" Target="../slideLayouts/slideLayout8.xml"/><Relationship Id="rId21" Type="http://schemas.openxmlformats.org/officeDocument/2006/relationships/slideLayout" Target="../slideLayouts/slideLayout26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5.xml"/><Relationship Id="rId29" Type="http://schemas.openxmlformats.org/officeDocument/2006/relationships/image" Target="../media/image3.png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24" Type="http://schemas.openxmlformats.org/officeDocument/2006/relationships/slideLayout" Target="../slideLayouts/slideLayout29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slideLayout" Target="../slideLayouts/slideLayout28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5.xml"/><Relationship Id="rId19" Type="http://schemas.openxmlformats.org/officeDocument/2006/relationships/slideLayout" Target="../slideLayouts/slideLayout24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slideLayout" Target="../slideLayouts/slideLayout27.xml"/><Relationship Id="rId27" Type="http://schemas.openxmlformats.org/officeDocument/2006/relationships/image" Target="../media/image1.png"/><Relationship Id="rId30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tags" Target="../tags/tag29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image" Target="../media/image4.png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51.xml"/><Relationship Id="rId21" Type="http://schemas.openxmlformats.org/officeDocument/2006/relationships/tags" Target="../tags/tag47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image" Target="../media/image4.png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1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70.xml"/><Relationship Id="rId21" Type="http://schemas.openxmlformats.org/officeDocument/2006/relationships/tags" Target="../tags/tag65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17" Type="http://schemas.openxmlformats.org/officeDocument/2006/relationships/slideLayout" Target="../slideLayouts/slideLayout84.xml"/><Relationship Id="rId25" Type="http://schemas.openxmlformats.org/officeDocument/2006/relationships/image" Target="../media/image4.png"/><Relationship Id="rId2" Type="http://schemas.openxmlformats.org/officeDocument/2006/relationships/slideLayout" Target="../slideLayouts/slideLayout69.xml"/><Relationship Id="rId16" Type="http://schemas.openxmlformats.org/officeDocument/2006/relationships/slideLayout" Target="../slideLayouts/slideLayout83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24" Type="http://schemas.openxmlformats.org/officeDocument/2006/relationships/image" Target="../media/image3.png"/><Relationship Id="rId5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2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77.xml"/><Relationship Id="rId19" Type="http://schemas.openxmlformats.org/officeDocument/2006/relationships/slideLayout" Target="../slideLayouts/slideLayout86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281" y="1732751"/>
            <a:ext cx="10800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1231" y="6617933"/>
            <a:ext cx="48895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C099EB7F-8006-48BB-A52D-867554138A9A}" type="datetime1">
              <a:rPr lang="en-US" smtClean="0"/>
              <a:t>11/2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672" y="6617933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43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empower - DO NOT DELETE!!!" hidden="1"/>
          <p:cNvSpPr/>
          <p:nvPr userDrawn="1">
            <p:custDataLst>
              <p:tags r:id="rId7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1456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6" r:id="rId1"/>
    <p:sldLayoutId id="2147484366" r:id="rId2"/>
    <p:sldLayoutId id="2147484368" r:id="rId3"/>
    <p:sldLayoutId id="2147484367" r:id="rId4"/>
    <p:sldLayoutId id="2147484484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8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9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10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11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11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11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11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11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281" y="1732751"/>
            <a:ext cx="10800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1231" y="6617933"/>
            <a:ext cx="48895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3154EF7C-13F9-4686-8000-CC9DB7C7272A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672" y="6617933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en-US">
                <a:solidFill>
                  <a:srgbClr val="10384F"/>
                </a:solidFill>
              </a:rPr>
              <a:t>/// Bayer 16:9 Template Chart Pool /// September 2019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43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7" name="empower - DO NOT DELETE!!!" hidden="1"/>
          <p:cNvSpPr/>
          <p:nvPr>
            <p:custDataLst>
              <p:tags r:id="rId26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518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0" r:id="rId1"/>
    <p:sldLayoutId id="2147484421" r:id="rId2"/>
    <p:sldLayoutId id="2147484422" r:id="rId3"/>
    <p:sldLayoutId id="2147484423" r:id="rId4"/>
    <p:sldLayoutId id="2147484424" r:id="rId5"/>
    <p:sldLayoutId id="2147484425" r:id="rId6"/>
    <p:sldLayoutId id="2147484426" r:id="rId7"/>
    <p:sldLayoutId id="2147484427" r:id="rId8"/>
    <p:sldLayoutId id="2147484428" r:id="rId9"/>
    <p:sldLayoutId id="2147484429" r:id="rId10"/>
    <p:sldLayoutId id="2147484430" r:id="rId11"/>
    <p:sldLayoutId id="2147484431" r:id="rId12"/>
    <p:sldLayoutId id="2147484432" r:id="rId13"/>
    <p:sldLayoutId id="2147484433" r:id="rId14"/>
    <p:sldLayoutId id="2147484434" r:id="rId15"/>
    <p:sldLayoutId id="2147484435" r:id="rId16"/>
    <p:sldLayoutId id="2147484436" r:id="rId17"/>
    <p:sldLayoutId id="2147484437" r:id="rId18"/>
    <p:sldLayoutId id="2147484438" r:id="rId19"/>
    <p:sldLayoutId id="2147484439" r:id="rId20"/>
    <p:sldLayoutId id="2147484440" r:id="rId21"/>
    <p:sldLayoutId id="2147484441" r:id="rId22"/>
    <p:sldLayoutId id="2147484442" r:id="rId23"/>
    <p:sldLayoutId id="2147484443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7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8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9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30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30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30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30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30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281" y="1732751"/>
            <a:ext cx="10800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1231" y="6617933"/>
            <a:ext cx="48895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67D9247B-7051-4DBD-8540-3BFDAC611952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672" y="6617933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en-US">
                <a:solidFill>
                  <a:srgbClr val="10384F"/>
                </a:solidFill>
              </a:rPr>
              <a:t>/// Bayer 16:9 Template /// Septem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43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7" name="empower - DO NOT DELETE!!!" hidden="1"/>
          <p:cNvSpPr/>
          <p:nvPr>
            <p:custDataLst>
              <p:tags r:id="rId21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1372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5" r:id="rId1"/>
    <p:sldLayoutId id="2147484446" r:id="rId2"/>
    <p:sldLayoutId id="2147484447" r:id="rId3"/>
    <p:sldLayoutId id="2147484448" r:id="rId4"/>
    <p:sldLayoutId id="2147484449" r:id="rId5"/>
    <p:sldLayoutId id="2147484450" r:id="rId6"/>
    <p:sldLayoutId id="2147484451" r:id="rId7"/>
    <p:sldLayoutId id="2147484452" r:id="rId8"/>
    <p:sldLayoutId id="2147484453" r:id="rId9"/>
    <p:sldLayoutId id="2147484454" r:id="rId10"/>
    <p:sldLayoutId id="2147484455" r:id="rId11"/>
    <p:sldLayoutId id="2147484456" r:id="rId12"/>
    <p:sldLayoutId id="2147484457" r:id="rId13"/>
    <p:sldLayoutId id="2147484458" r:id="rId14"/>
    <p:sldLayoutId id="2147484459" r:id="rId15"/>
    <p:sldLayoutId id="2147484460" r:id="rId16"/>
    <p:sldLayoutId id="2147484461" r:id="rId17"/>
    <p:sldLayoutId id="2147484462" r:id="rId18"/>
    <p:sldLayoutId id="2147484463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2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281" y="1732751"/>
            <a:ext cx="10800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1231" y="6617933"/>
            <a:ext cx="48895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67D9247B-7051-4DBD-8540-3BFDAC611952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672" y="6617933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en-US">
                <a:solidFill>
                  <a:srgbClr val="10384F"/>
                </a:solidFill>
              </a:rPr>
              <a:t>/// Bayer 16:9 Template /// Septem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43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7" name="empower - DO NOT DELETE!!!" hidden="1"/>
          <p:cNvSpPr/>
          <p:nvPr>
            <p:custDataLst>
              <p:tags r:id="rId21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6077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5" r:id="rId1"/>
    <p:sldLayoutId id="2147484466" r:id="rId2"/>
    <p:sldLayoutId id="2147484467" r:id="rId3"/>
    <p:sldLayoutId id="2147484468" r:id="rId4"/>
    <p:sldLayoutId id="2147484469" r:id="rId5"/>
    <p:sldLayoutId id="2147484470" r:id="rId6"/>
    <p:sldLayoutId id="2147484471" r:id="rId7"/>
    <p:sldLayoutId id="2147484472" r:id="rId8"/>
    <p:sldLayoutId id="2147484473" r:id="rId9"/>
    <p:sldLayoutId id="2147484474" r:id="rId10"/>
    <p:sldLayoutId id="2147484475" r:id="rId11"/>
    <p:sldLayoutId id="2147484476" r:id="rId12"/>
    <p:sldLayoutId id="2147484477" r:id="rId13"/>
    <p:sldLayoutId id="2147484478" r:id="rId14"/>
    <p:sldLayoutId id="2147484479" r:id="rId15"/>
    <p:sldLayoutId id="2147484480" r:id="rId16"/>
    <p:sldLayoutId id="2147484481" r:id="rId17"/>
    <p:sldLayoutId id="2147484482" r:id="rId18"/>
    <p:sldLayoutId id="2147484483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2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281" y="1732751"/>
            <a:ext cx="10800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1231" y="6617933"/>
            <a:ext cx="48895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67D9247B-7051-4DBD-8540-3BFDAC611952}" type="datetime1">
              <a:rPr lang="en-US" smtClean="0"/>
              <a:pPr/>
              <a:t>11/24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672" y="6617933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en-US">
                <a:solidFill>
                  <a:srgbClr val="10384F"/>
                </a:solidFill>
              </a:rPr>
              <a:t>/// Bayer 16:9 Template /// September 2018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43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7" name="empower - DO NOT DELETE!!!" hidden="1"/>
          <p:cNvSpPr/>
          <p:nvPr>
            <p:custDataLst>
              <p:tags r:id="rId21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4610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8" r:id="rId1"/>
    <p:sldLayoutId id="2147484489" r:id="rId2"/>
    <p:sldLayoutId id="2147484490" r:id="rId3"/>
    <p:sldLayoutId id="2147484491" r:id="rId4"/>
    <p:sldLayoutId id="2147484492" r:id="rId5"/>
    <p:sldLayoutId id="2147484493" r:id="rId6"/>
    <p:sldLayoutId id="2147484494" r:id="rId7"/>
    <p:sldLayoutId id="2147484495" r:id="rId8"/>
    <p:sldLayoutId id="2147484496" r:id="rId9"/>
    <p:sldLayoutId id="2147484497" r:id="rId10"/>
    <p:sldLayoutId id="2147484498" r:id="rId11"/>
    <p:sldLayoutId id="2147484499" r:id="rId12"/>
    <p:sldLayoutId id="2147484500" r:id="rId13"/>
    <p:sldLayoutId id="2147484501" r:id="rId14"/>
    <p:sldLayoutId id="2147484502" r:id="rId15"/>
    <p:sldLayoutId id="2147484503" r:id="rId16"/>
    <p:sldLayoutId id="2147484504" r:id="rId17"/>
    <p:sldLayoutId id="2147484505" r:id="rId18"/>
    <p:sldLayoutId id="2147484506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2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image" Target="../media/image9.png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1.png"/><Relationship Id="rId11" Type="http://schemas.openxmlformats.org/officeDocument/2006/relationships/image" Target="../media/image16.PNG"/><Relationship Id="rId5" Type="http://schemas.openxmlformats.org/officeDocument/2006/relationships/image" Target="../media/image11.png"/><Relationship Id="rId10" Type="http://schemas.openxmlformats.org/officeDocument/2006/relationships/image" Target="../media/image15.JPG"/><Relationship Id="rId4" Type="http://schemas.openxmlformats.org/officeDocument/2006/relationships/image" Target="../media/image10.png"/><Relationship Id="rId9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8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g"/><Relationship Id="rId3" Type="http://schemas.openxmlformats.org/officeDocument/2006/relationships/slideLayout" Target="../slideLayouts/slideLayout58.xml"/><Relationship Id="rId7" Type="http://schemas.openxmlformats.org/officeDocument/2006/relationships/image" Target="../media/image1.png"/><Relationship Id="rId2" Type="http://schemas.openxmlformats.org/officeDocument/2006/relationships/video" Target="../media/media1.wmv"/><Relationship Id="rId1" Type="http://schemas.microsoft.com/office/2007/relationships/media" Target="../media/media1.wmv"/><Relationship Id="rId6" Type="http://schemas.openxmlformats.org/officeDocument/2006/relationships/image" Target="../media/image11.png"/><Relationship Id="rId5" Type="http://schemas.openxmlformats.org/officeDocument/2006/relationships/image" Target="../media/image18.png"/><Relationship Id="rId10" Type="http://schemas.openxmlformats.org/officeDocument/2006/relationships/image" Target="../media/image21.jp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0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59" t="24048" r="15040" b="9185"/>
          <a:stretch/>
        </p:blipFill>
        <p:spPr>
          <a:xfrm>
            <a:off x="4057650" y="0"/>
            <a:ext cx="8135145" cy="6858000"/>
          </a:xfr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</p:pic>
      <p:sp>
        <p:nvSpPr>
          <p:cNvPr id="5" name="Untertitel 4">
            <a:extLst>
              <a:ext uri="{FF2B5EF4-FFF2-40B4-BE49-F238E27FC236}">
                <a16:creationId xmlns:a16="http://schemas.microsoft.com/office/drawing/2014/main" id="{94BF20BC-2ED4-4B5B-B8EA-2B0BAFB713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9365" y="2284872"/>
            <a:ext cx="3620552" cy="592952"/>
          </a:xfrm>
        </p:spPr>
        <p:txBody>
          <a:bodyPr/>
          <a:lstStyle/>
          <a:p>
            <a:r>
              <a:rPr lang="de-DE" b="1" dirty="0">
                <a:latin typeface="Arial" panose="020B0604020202020204" pitchFamily="34" charset="0"/>
              </a:rPr>
              <a:t>Quick Design Guide</a:t>
            </a:r>
            <a:endParaRPr lang="de-DE" b="1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 bwMode="blackGray"/>
        <p:txBody>
          <a:bodyPr/>
          <a:lstStyle/>
          <a:p>
            <a:r>
              <a:rPr lang="en-US"/>
              <a:t>/// Bayer 16:9 Template Chart Pool /// September 2019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blackGray"/>
        <p:txBody>
          <a:bodyPr/>
          <a:lstStyle/>
          <a:p>
            <a:fld id="{EEAD9179-7A6B-4268-BEB2-F3B8EB06115B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2EB9187-802C-4B39-BE02-6411F2C1360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9560" y="2977398"/>
            <a:ext cx="3620357" cy="1440000"/>
          </a:xfrm>
        </p:spPr>
        <p:txBody>
          <a:bodyPr/>
          <a:lstStyle/>
          <a:p>
            <a:r>
              <a:rPr lang="de-DE" sz="4800" dirty="0" err="1"/>
              <a:t>Social</a:t>
            </a:r>
            <a:r>
              <a:rPr lang="de-DE" sz="4800" dirty="0"/>
              <a:t> Media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 bwMode="blackGray">
          <a:xfrm>
            <a:off x="1414398" y="4967001"/>
            <a:ext cx="2915519" cy="900399"/>
          </a:xfrm>
        </p:spPr>
        <p:txBody>
          <a:bodyPr/>
          <a:lstStyle/>
          <a:p>
            <a:pPr lvl="1"/>
            <a:r>
              <a:rPr lang="de-DE" dirty="0">
                <a:latin typeface="Arial" panose="020B0604020202020204" pitchFamily="34" charset="0"/>
              </a:rPr>
              <a:t>November 2021 </a:t>
            </a:r>
            <a:endParaRPr lang="de-DE" b="1" dirty="0">
              <a:solidFill>
                <a:schemeClr val="accent4"/>
              </a:solidFill>
              <a:latin typeface="Arial" panose="020B0604020202020204" pitchFamily="34" charset="0"/>
            </a:endParaRPr>
          </a:p>
        </p:txBody>
      </p:sp>
      <p:sp>
        <p:nvSpPr>
          <p:cNvPr id="9" name="Textplatzhalter 9"/>
          <p:cNvSpPr txBox="1">
            <a:spLocks/>
          </p:cNvSpPr>
          <p:nvPr/>
        </p:nvSpPr>
        <p:spPr bwMode="blackGray">
          <a:xfrm>
            <a:off x="1409303" y="4262151"/>
            <a:ext cx="3572669" cy="5003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2000" dirty="0">
                <a:latin typeface="Arial" panose="020B0604020202020204" pitchFamily="34" charset="0"/>
              </a:rPr>
              <a:t>Bayer </a:t>
            </a:r>
            <a:br>
              <a:rPr lang="de-DE" sz="2000" dirty="0">
                <a:latin typeface="Arial" panose="020B0604020202020204" pitchFamily="34" charset="0"/>
              </a:rPr>
            </a:br>
            <a:r>
              <a:rPr lang="de-DE" sz="2000" dirty="0">
                <a:latin typeface="Arial" panose="020B0604020202020204" pitchFamily="34" charset="0"/>
              </a:rPr>
              <a:t>Communications</a:t>
            </a:r>
            <a:endParaRPr lang="de-DE" sz="2000" b="1" dirty="0">
              <a:solidFill>
                <a:schemeClr val="accent4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3201158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Quick Design Guid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sz="quarter" idx="14"/>
          </p:nvPr>
        </p:nvSpPr>
        <p:spPr>
          <a:xfrm>
            <a:off x="981820" y="2110115"/>
            <a:ext cx="10798461" cy="4751999"/>
          </a:xfrm>
        </p:spPr>
        <p:txBody>
          <a:bodyPr/>
          <a:lstStyle/>
          <a:p>
            <a:pPr>
              <a:lnSpc>
                <a:spcPts val="2300"/>
              </a:lnSpc>
            </a:pPr>
            <a:r>
              <a:rPr lang="en-US" b="1" dirty="0"/>
              <a:t>Bayer offers templates for a globally consistent brand experience</a:t>
            </a:r>
            <a:br>
              <a:rPr lang="en-US" b="1" dirty="0"/>
            </a:br>
            <a:r>
              <a:rPr lang="en-US" b="1" dirty="0"/>
              <a:t>on the company social media channels.</a:t>
            </a:r>
          </a:p>
          <a:p>
            <a:pPr>
              <a:lnSpc>
                <a:spcPts val="2300"/>
              </a:lnSpc>
            </a:pPr>
            <a:r>
              <a:rPr lang="en-US" dirty="0"/>
              <a:t>There are individual PowerPoint templates regarding three general post </a:t>
            </a:r>
            <a:br>
              <a:rPr lang="en-US" dirty="0"/>
            </a:br>
            <a:r>
              <a:rPr lang="en-US" dirty="0"/>
              <a:t>types and the specific requirements for each social media platform.</a:t>
            </a:r>
          </a:p>
          <a:p>
            <a:pPr>
              <a:lnSpc>
                <a:spcPts val="2300"/>
              </a:lnSpc>
            </a:pPr>
            <a:r>
              <a:rPr lang="en-US" dirty="0"/>
              <a:t>This guideline offers helpful tips and tricks to edit the templates flexibly </a:t>
            </a:r>
            <a:br>
              <a:rPr lang="en-US" dirty="0"/>
            </a:br>
            <a:r>
              <a:rPr lang="en-US" dirty="0"/>
              <a:t>to local needs according to the Bayer corporate design guidelines.</a:t>
            </a: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/// Bayer Communications /// Quick Design Guide Social Media /// November 2021</a:t>
            </a: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2</a:t>
            </a:fld>
            <a:endParaRPr lang="en-US" dirty="0">
              <a:solidFill>
                <a:srgbClr val="00BCFF"/>
              </a:solidFill>
            </a:endParaRPr>
          </a:p>
        </p:txBody>
      </p:sp>
      <p:grpSp>
        <p:nvGrpSpPr>
          <p:cNvPr id="10" name="Group 1"/>
          <p:cNvGrpSpPr/>
          <p:nvPr/>
        </p:nvGrpSpPr>
        <p:grpSpPr bwMode="black">
          <a:xfrm>
            <a:off x="7804236" y="1"/>
            <a:ext cx="4386177" cy="6858000"/>
            <a:chOff x="7804236" y="1"/>
            <a:chExt cx="4386177" cy="6858000"/>
          </a:xfrm>
        </p:grpSpPr>
        <p:sp>
          <p:nvSpPr>
            <p:cNvPr id="11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066334371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854343" y="2318501"/>
            <a:ext cx="6074913" cy="1440753"/>
          </a:xfrm>
        </p:spPr>
        <p:txBody>
          <a:bodyPr/>
          <a:lstStyle/>
          <a:p>
            <a:r>
              <a:rPr lang="en-US" sz="7200" dirty="0"/>
              <a:t>Post Types</a:t>
            </a:r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7055681" y="3921197"/>
            <a:ext cx="4500000" cy="720000"/>
          </a:xfrm>
        </p:spPr>
        <p:txBody>
          <a:bodyPr/>
          <a:lstStyle/>
          <a:p>
            <a:r>
              <a:rPr lang="en-US" sz="3200" dirty="0"/>
              <a:t>Quick Design Guide</a:t>
            </a:r>
          </a:p>
        </p:txBody>
      </p:sp>
    </p:spTree>
    <p:extLst>
      <p:ext uri="{BB962C8B-B14F-4D97-AF65-F5344CB8AC3E}">
        <p14:creationId xmlns:p14="http://schemas.microsoft.com/office/powerpoint/2010/main" val="2595200339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EA79765-76EA-4DD8-862D-7B919D58695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2331" b="10122"/>
          <a:stretch/>
        </p:blipFill>
        <p:spPr>
          <a:xfrm>
            <a:off x="9456879" y="2233094"/>
            <a:ext cx="1920459" cy="3132000"/>
          </a:xfrm>
          <a:prstGeom prst="rect">
            <a:avLst/>
          </a:prstGeom>
        </p:spPr>
      </p:pic>
      <p:pic>
        <p:nvPicPr>
          <p:cNvPr id="96" name="Grafik 95">
            <a:extLst>
              <a:ext uri="{FF2B5EF4-FFF2-40B4-BE49-F238E27FC236}">
                <a16:creationId xmlns:a16="http://schemas.microsoft.com/office/drawing/2014/main" id="{3717F4D3-412F-40B8-85E7-2109756C4D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6880" y="2233095"/>
            <a:ext cx="1920459" cy="3522342"/>
          </a:xfrm>
          <a:prstGeom prst="rect">
            <a:avLst/>
          </a:prstGeom>
        </p:spPr>
      </p:pic>
      <p:sp>
        <p:nvSpPr>
          <p:cNvPr id="6" name="Subtitle 5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1821" y="181938"/>
            <a:ext cx="10798460" cy="864000"/>
          </a:xfrm>
        </p:spPr>
        <p:txBody>
          <a:bodyPr/>
          <a:lstStyle/>
          <a:p>
            <a:r>
              <a:rPr lang="en-US" dirty="0"/>
              <a:t>Post Types</a:t>
            </a:r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/// Bayer Communications /// Quick Design Guide Social Media /// November 2021</a:t>
            </a:r>
          </a:p>
        </p:txBody>
      </p:sp>
      <p:sp>
        <p:nvSpPr>
          <p:cNvPr id="20" name="Foliennummernplatzhalter 1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4</a:t>
            </a:fld>
            <a:endParaRPr lang="en-US" dirty="0"/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2EF5BA3C-6185-4FE6-9016-649CD6C0AD39}"/>
              </a:ext>
            </a:extLst>
          </p:cNvPr>
          <p:cNvSpPr txBox="1">
            <a:spLocks/>
          </p:cNvSpPr>
          <p:nvPr/>
        </p:nvSpPr>
        <p:spPr bwMode="gray">
          <a:xfrm>
            <a:off x="973351" y="2496640"/>
            <a:ext cx="2207052" cy="292967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5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Aft>
                <a:spcPts val="900"/>
              </a:spcAft>
              <a:buNone/>
            </a:pPr>
            <a:r>
              <a:rPr lang="en-US" sz="1200" b="1" dirty="0">
                <a:solidFill>
                  <a:srgbClr val="10384F"/>
                </a:solidFill>
              </a:rPr>
              <a:t>This social media toolbox </a:t>
            </a:r>
            <a:br>
              <a:rPr lang="en-US" sz="1200" dirty="0">
                <a:solidFill>
                  <a:srgbClr val="10384F"/>
                </a:solidFill>
              </a:rPr>
            </a:br>
            <a:r>
              <a:rPr lang="en-US" sz="1200" dirty="0">
                <a:solidFill>
                  <a:srgbClr val="10384F"/>
                </a:solidFill>
              </a:rPr>
              <a:t>offers a selection of templates </a:t>
            </a:r>
            <a:br>
              <a:rPr lang="en-US" sz="1200" dirty="0">
                <a:solidFill>
                  <a:srgbClr val="10384F"/>
                </a:solidFill>
              </a:rPr>
            </a:br>
            <a:r>
              <a:rPr lang="en-US" sz="1200" dirty="0">
                <a:solidFill>
                  <a:srgbClr val="10384F"/>
                </a:solidFill>
              </a:rPr>
              <a:t>for the three most important channels (Facebook, Instagram </a:t>
            </a:r>
            <a:r>
              <a:rPr lang="en-US" sz="1200" spc="-10" dirty="0">
                <a:solidFill>
                  <a:srgbClr val="10384F"/>
                </a:solidFill>
              </a:rPr>
              <a:t>and LinkedIn) in order </a:t>
            </a:r>
            <a:br>
              <a:rPr lang="en-US" sz="1200" spc="-10" dirty="0">
                <a:solidFill>
                  <a:srgbClr val="10384F"/>
                </a:solidFill>
              </a:rPr>
            </a:br>
            <a:r>
              <a:rPr lang="en-US" sz="1200" b="1" spc="-10" dirty="0">
                <a:solidFill>
                  <a:srgbClr val="10384F"/>
                </a:solidFill>
              </a:rPr>
              <a:t>to represent </a:t>
            </a:r>
            <a:r>
              <a:rPr lang="en-US" sz="1200" b="1" dirty="0">
                <a:solidFill>
                  <a:srgbClr val="10384F"/>
                </a:solidFill>
              </a:rPr>
              <a:t>Bayer uniformly</a:t>
            </a:r>
            <a:r>
              <a:rPr lang="en-US" sz="1200" dirty="0">
                <a:solidFill>
                  <a:srgbClr val="10384F"/>
                </a:solidFill>
              </a:rPr>
              <a:t> </a:t>
            </a:r>
            <a:br>
              <a:rPr lang="en-US" sz="1200" dirty="0">
                <a:solidFill>
                  <a:srgbClr val="10384F"/>
                </a:solidFill>
              </a:rPr>
            </a:br>
            <a:r>
              <a:rPr lang="en-US" sz="1200" dirty="0">
                <a:solidFill>
                  <a:srgbClr val="10384F"/>
                </a:solidFill>
              </a:rPr>
              <a:t>and in accordance with Bayer visual identity requirements via </a:t>
            </a:r>
            <a:br>
              <a:rPr lang="en-US" sz="1200" dirty="0">
                <a:solidFill>
                  <a:srgbClr val="10384F"/>
                </a:solidFill>
              </a:rPr>
            </a:br>
            <a:r>
              <a:rPr lang="en-US" sz="1200" dirty="0">
                <a:solidFill>
                  <a:srgbClr val="10384F"/>
                </a:solidFill>
              </a:rPr>
              <a:t>the social media channels: </a:t>
            </a:r>
            <a:endParaRPr lang="en-US" sz="1200" dirty="0">
              <a:solidFill>
                <a:srgbClr val="10384F"/>
              </a:solidFill>
              <a:sym typeface="Wingdings" panose="05000000000000000000" pitchFamily="2" charset="2"/>
            </a:endParaRPr>
          </a:p>
          <a:p>
            <a:pPr marL="144000" indent="-144000">
              <a:spcBef>
                <a:spcPts val="0"/>
              </a:spcBef>
              <a:spcAft>
                <a:spcPts val="300"/>
              </a:spcAft>
              <a:buBlip>
                <a:blip r:embed="rId6"/>
              </a:buBlip>
            </a:pPr>
            <a:r>
              <a:rPr lang="en-US" sz="1200" b="1" dirty="0">
                <a:solidFill>
                  <a:srgbClr val="10384F"/>
                </a:solidFill>
              </a:rPr>
              <a:t>Quote Cards</a:t>
            </a:r>
          </a:p>
          <a:p>
            <a:pPr marL="144000" indent="-144000">
              <a:spcBef>
                <a:spcPts val="0"/>
              </a:spcBef>
              <a:spcAft>
                <a:spcPts val="300"/>
              </a:spcAft>
              <a:buBlip>
                <a:blip r:embed="rId6"/>
              </a:buBlip>
            </a:pPr>
            <a:r>
              <a:rPr lang="en-US" sz="1200" b="1" dirty="0">
                <a:solidFill>
                  <a:srgbClr val="10384F"/>
                </a:solidFill>
              </a:rPr>
              <a:t>Text Box</a:t>
            </a:r>
          </a:p>
          <a:p>
            <a:pPr marL="144000" indent="-144000">
              <a:spcBef>
                <a:spcPts val="0"/>
              </a:spcBef>
              <a:spcAft>
                <a:spcPts val="300"/>
              </a:spcAft>
              <a:buBlip>
                <a:blip r:embed="rId6"/>
              </a:buBlip>
            </a:pPr>
            <a:r>
              <a:rPr lang="en-US" sz="1200" b="1" dirty="0">
                <a:solidFill>
                  <a:srgbClr val="10384F"/>
                </a:solidFill>
              </a:rPr>
              <a:t>Company Announcements</a:t>
            </a:r>
          </a:p>
          <a:p>
            <a:pPr marL="144000" indent="-144000">
              <a:spcBef>
                <a:spcPts val="0"/>
              </a:spcBef>
              <a:spcAft>
                <a:spcPts val="300"/>
              </a:spcAft>
              <a:buBlip>
                <a:blip r:embed="rId6"/>
              </a:buBlip>
            </a:pPr>
            <a:r>
              <a:rPr lang="en-US" sz="1200" b="1" dirty="0">
                <a:solidFill>
                  <a:srgbClr val="10384F"/>
                </a:solidFill>
              </a:rPr>
              <a:t>Stories</a:t>
            </a:r>
          </a:p>
        </p:txBody>
      </p:sp>
      <p:grpSp>
        <p:nvGrpSpPr>
          <p:cNvPr id="57" name="Gruppieren 56"/>
          <p:cNvGrpSpPr/>
          <p:nvPr/>
        </p:nvGrpSpPr>
        <p:grpSpPr>
          <a:xfrm>
            <a:off x="981820" y="5305617"/>
            <a:ext cx="2005200" cy="543358"/>
            <a:chOff x="976387" y="5326750"/>
            <a:chExt cx="2005200" cy="543358"/>
          </a:xfrm>
        </p:grpSpPr>
        <p:sp>
          <p:nvSpPr>
            <p:cNvPr id="58" name="Untertitel 1"/>
            <p:cNvSpPr txBox="1">
              <a:spLocks/>
            </p:cNvSpPr>
            <p:nvPr/>
          </p:nvSpPr>
          <p:spPr bwMode="gray">
            <a:xfrm>
              <a:off x="984372" y="5389182"/>
              <a:ext cx="1930821" cy="208265"/>
            </a:xfrm>
            <a:prstGeom prst="rect">
              <a:avLst/>
            </a:prstGeom>
          </p:spPr>
          <p:txBody>
            <a:bodyPr vert="horz" lIns="0" tIns="0" rIns="0" bIns="0" rtlCol="0" anchor="t">
              <a:noAutofit/>
            </a:bodyPr>
            <a:lstStyle>
              <a:lvl1pPr marL="0" indent="0" algn="l" defTabSz="914400" rtl="0" eaLnBrk="1" latinLnBrk="0" hangingPunct="1">
                <a:spcBef>
                  <a:spcPts val="12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None/>
                <a:defRPr sz="18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None/>
                <a:defRPr sz="18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None/>
                <a:defRPr sz="18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None/>
                <a:defRPr sz="18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None/>
                <a:defRPr sz="18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None/>
                <a:defRPr sz="18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None/>
                <a:defRPr sz="18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300"/>
                </a:spcBef>
                <a:spcAft>
                  <a:spcPts val="600"/>
                </a:spcAft>
                <a:buFontTx/>
                <a:buNone/>
                <a:defRPr sz="18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050" b="1" dirty="0"/>
                <a:t>Social Media platforms</a:t>
              </a:r>
            </a:p>
          </p:txBody>
        </p:sp>
        <p:grpSp>
          <p:nvGrpSpPr>
            <p:cNvPr id="59" name="Gruppieren 58"/>
            <p:cNvGrpSpPr/>
            <p:nvPr/>
          </p:nvGrpSpPr>
          <p:grpSpPr>
            <a:xfrm>
              <a:off x="980333" y="5602380"/>
              <a:ext cx="267728" cy="267728"/>
              <a:chOff x="505831" y="5602380"/>
              <a:chExt cx="267728" cy="267728"/>
            </a:xfrm>
          </p:grpSpPr>
          <p:sp>
            <p:nvSpPr>
              <p:cNvPr id="71" name="Rechteck 70"/>
              <p:cNvSpPr/>
              <p:nvPr/>
            </p:nvSpPr>
            <p:spPr bwMode="gray">
              <a:xfrm>
                <a:off x="505831" y="5602380"/>
                <a:ext cx="267728" cy="26772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2000" b="0" i="0" u="none" baseline="0" dirty="0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72" name="Freeform 6"/>
              <p:cNvSpPr>
                <a:spLocks noEditPoints="1"/>
              </p:cNvSpPr>
              <p:nvPr/>
            </p:nvSpPr>
            <p:spPr bwMode="auto">
              <a:xfrm>
                <a:off x="574096" y="5669075"/>
                <a:ext cx="132157" cy="131775"/>
              </a:xfrm>
              <a:custGeom>
                <a:avLst/>
                <a:gdLst>
                  <a:gd name="T0" fmla="*/ 946 w 946"/>
                  <a:gd name="T1" fmla="*/ 944 h 944"/>
                  <a:gd name="T2" fmla="*/ 750 w 946"/>
                  <a:gd name="T3" fmla="*/ 944 h 944"/>
                  <a:gd name="T4" fmla="*/ 750 w 946"/>
                  <a:gd name="T5" fmla="*/ 637 h 944"/>
                  <a:gd name="T6" fmla="*/ 648 w 946"/>
                  <a:gd name="T7" fmla="*/ 470 h 944"/>
                  <a:gd name="T8" fmla="*/ 531 w 946"/>
                  <a:gd name="T9" fmla="*/ 632 h 944"/>
                  <a:gd name="T10" fmla="*/ 531 w 946"/>
                  <a:gd name="T11" fmla="*/ 944 h 944"/>
                  <a:gd name="T12" fmla="*/ 335 w 946"/>
                  <a:gd name="T13" fmla="*/ 944 h 944"/>
                  <a:gd name="T14" fmla="*/ 335 w 946"/>
                  <a:gd name="T15" fmla="*/ 313 h 944"/>
                  <a:gd name="T16" fmla="*/ 523 w 946"/>
                  <a:gd name="T17" fmla="*/ 313 h 944"/>
                  <a:gd name="T18" fmla="*/ 523 w 946"/>
                  <a:gd name="T19" fmla="*/ 400 h 944"/>
                  <a:gd name="T20" fmla="*/ 525 w 946"/>
                  <a:gd name="T21" fmla="*/ 400 h 944"/>
                  <a:gd name="T22" fmla="*/ 711 w 946"/>
                  <a:gd name="T23" fmla="*/ 298 h 944"/>
                  <a:gd name="T24" fmla="*/ 946 w 946"/>
                  <a:gd name="T25" fmla="*/ 598 h 944"/>
                  <a:gd name="T26" fmla="*/ 946 w 946"/>
                  <a:gd name="T27" fmla="*/ 944 h 944"/>
                  <a:gd name="T28" fmla="*/ 114 w 946"/>
                  <a:gd name="T29" fmla="*/ 227 h 944"/>
                  <a:gd name="T30" fmla="*/ 114 w 946"/>
                  <a:gd name="T31" fmla="*/ 227 h 944"/>
                  <a:gd name="T32" fmla="*/ 0 w 946"/>
                  <a:gd name="T33" fmla="*/ 113 h 944"/>
                  <a:gd name="T34" fmla="*/ 114 w 946"/>
                  <a:gd name="T35" fmla="*/ 0 h 944"/>
                  <a:gd name="T36" fmla="*/ 227 w 946"/>
                  <a:gd name="T37" fmla="*/ 113 h 944"/>
                  <a:gd name="T38" fmla="*/ 227 w 946"/>
                  <a:gd name="T39" fmla="*/ 113 h 944"/>
                  <a:gd name="T40" fmla="*/ 114 w 946"/>
                  <a:gd name="T41" fmla="*/ 227 h 944"/>
                  <a:gd name="T42" fmla="*/ 212 w 946"/>
                  <a:gd name="T43" fmla="*/ 944 h 944"/>
                  <a:gd name="T44" fmla="*/ 16 w 946"/>
                  <a:gd name="T45" fmla="*/ 944 h 944"/>
                  <a:gd name="T46" fmla="*/ 16 w 946"/>
                  <a:gd name="T47" fmla="*/ 313 h 944"/>
                  <a:gd name="T48" fmla="*/ 212 w 946"/>
                  <a:gd name="T49" fmla="*/ 313 h 944"/>
                  <a:gd name="T50" fmla="*/ 212 w 946"/>
                  <a:gd name="T51" fmla="*/ 944 h 9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46" h="944">
                    <a:moveTo>
                      <a:pt x="946" y="944"/>
                    </a:moveTo>
                    <a:cubicBezTo>
                      <a:pt x="750" y="944"/>
                      <a:pt x="750" y="944"/>
                      <a:pt x="750" y="944"/>
                    </a:cubicBezTo>
                    <a:cubicBezTo>
                      <a:pt x="750" y="637"/>
                      <a:pt x="750" y="637"/>
                      <a:pt x="750" y="637"/>
                    </a:cubicBezTo>
                    <a:cubicBezTo>
                      <a:pt x="750" y="564"/>
                      <a:pt x="749" y="470"/>
                      <a:pt x="648" y="470"/>
                    </a:cubicBezTo>
                    <a:cubicBezTo>
                      <a:pt x="546" y="470"/>
                      <a:pt x="531" y="550"/>
                      <a:pt x="531" y="632"/>
                    </a:cubicBezTo>
                    <a:cubicBezTo>
                      <a:pt x="531" y="944"/>
                      <a:pt x="531" y="944"/>
                      <a:pt x="531" y="944"/>
                    </a:cubicBezTo>
                    <a:cubicBezTo>
                      <a:pt x="335" y="944"/>
                      <a:pt x="335" y="944"/>
                      <a:pt x="335" y="944"/>
                    </a:cubicBezTo>
                    <a:cubicBezTo>
                      <a:pt x="335" y="313"/>
                      <a:pt x="335" y="313"/>
                      <a:pt x="335" y="313"/>
                    </a:cubicBezTo>
                    <a:cubicBezTo>
                      <a:pt x="523" y="313"/>
                      <a:pt x="523" y="313"/>
                      <a:pt x="523" y="313"/>
                    </a:cubicBezTo>
                    <a:cubicBezTo>
                      <a:pt x="523" y="400"/>
                      <a:pt x="523" y="400"/>
                      <a:pt x="523" y="400"/>
                    </a:cubicBezTo>
                    <a:cubicBezTo>
                      <a:pt x="525" y="400"/>
                      <a:pt x="525" y="400"/>
                      <a:pt x="525" y="400"/>
                    </a:cubicBezTo>
                    <a:cubicBezTo>
                      <a:pt x="564" y="334"/>
                      <a:pt x="635" y="295"/>
                      <a:pt x="711" y="298"/>
                    </a:cubicBezTo>
                    <a:cubicBezTo>
                      <a:pt x="909" y="298"/>
                      <a:pt x="946" y="428"/>
                      <a:pt x="946" y="598"/>
                    </a:cubicBezTo>
                    <a:lnTo>
                      <a:pt x="946" y="944"/>
                    </a:lnTo>
                    <a:close/>
                    <a:moveTo>
                      <a:pt x="114" y="227"/>
                    </a:moveTo>
                    <a:cubicBezTo>
                      <a:pt x="114" y="227"/>
                      <a:pt x="114" y="227"/>
                      <a:pt x="114" y="227"/>
                    </a:cubicBezTo>
                    <a:cubicBezTo>
                      <a:pt x="51" y="227"/>
                      <a:pt x="0" y="176"/>
                      <a:pt x="0" y="113"/>
                    </a:cubicBezTo>
                    <a:cubicBezTo>
                      <a:pt x="0" y="51"/>
                      <a:pt x="51" y="0"/>
                      <a:pt x="114" y="0"/>
                    </a:cubicBezTo>
                    <a:cubicBezTo>
                      <a:pt x="176" y="0"/>
                      <a:pt x="227" y="51"/>
                      <a:pt x="227" y="113"/>
                    </a:cubicBezTo>
                    <a:cubicBezTo>
                      <a:pt x="227" y="113"/>
                      <a:pt x="227" y="113"/>
                      <a:pt x="227" y="113"/>
                    </a:cubicBezTo>
                    <a:cubicBezTo>
                      <a:pt x="227" y="176"/>
                      <a:pt x="176" y="227"/>
                      <a:pt x="114" y="227"/>
                    </a:cubicBezTo>
                    <a:moveTo>
                      <a:pt x="212" y="944"/>
                    </a:moveTo>
                    <a:cubicBezTo>
                      <a:pt x="16" y="944"/>
                      <a:pt x="16" y="944"/>
                      <a:pt x="16" y="944"/>
                    </a:cubicBezTo>
                    <a:cubicBezTo>
                      <a:pt x="16" y="313"/>
                      <a:pt x="16" y="313"/>
                      <a:pt x="16" y="313"/>
                    </a:cubicBezTo>
                    <a:cubicBezTo>
                      <a:pt x="212" y="313"/>
                      <a:pt x="212" y="313"/>
                      <a:pt x="212" y="313"/>
                    </a:cubicBezTo>
                    <a:lnTo>
                      <a:pt x="212" y="94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000"/>
              </a:p>
            </p:txBody>
          </p:sp>
        </p:grpSp>
        <p:grpSp>
          <p:nvGrpSpPr>
            <p:cNvPr id="60" name="Gruppieren 59"/>
            <p:cNvGrpSpPr/>
            <p:nvPr/>
          </p:nvGrpSpPr>
          <p:grpSpPr>
            <a:xfrm>
              <a:off x="1606229" y="5602380"/>
              <a:ext cx="267728" cy="267728"/>
              <a:chOff x="1131727" y="5602380"/>
              <a:chExt cx="267728" cy="267728"/>
            </a:xfrm>
          </p:grpSpPr>
          <p:sp>
            <p:nvSpPr>
              <p:cNvPr id="69" name="Rechteck 68"/>
              <p:cNvSpPr/>
              <p:nvPr/>
            </p:nvSpPr>
            <p:spPr bwMode="gray">
              <a:xfrm>
                <a:off x="1131727" y="5602380"/>
                <a:ext cx="267728" cy="26772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2000" b="0" i="0" u="none" baseline="0" dirty="0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sp>
            <p:nvSpPr>
              <p:cNvPr id="70" name="Freeform 6"/>
              <p:cNvSpPr>
                <a:spLocks/>
              </p:cNvSpPr>
              <p:nvPr/>
            </p:nvSpPr>
            <p:spPr bwMode="auto">
              <a:xfrm>
                <a:off x="1217579" y="5655851"/>
                <a:ext cx="86020" cy="160785"/>
              </a:xfrm>
              <a:custGeom>
                <a:avLst/>
                <a:gdLst>
                  <a:gd name="T0" fmla="*/ 1637 w 1752"/>
                  <a:gd name="T1" fmla="*/ 1840 h 3296"/>
                  <a:gd name="T2" fmla="*/ 1728 w 1752"/>
                  <a:gd name="T3" fmla="*/ 1248 h 3296"/>
                  <a:gd name="T4" fmla="*/ 1160 w 1752"/>
                  <a:gd name="T5" fmla="*/ 1248 h 3296"/>
                  <a:gd name="T6" fmla="*/ 1160 w 1752"/>
                  <a:gd name="T7" fmla="*/ 864 h 3296"/>
                  <a:gd name="T8" fmla="*/ 1494 w 1752"/>
                  <a:gd name="T9" fmla="*/ 544 h 3296"/>
                  <a:gd name="T10" fmla="*/ 1752 w 1752"/>
                  <a:gd name="T11" fmla="*/ 544 h 3296"/>
                  <a:gd name="T12" fmla="*/ 1752 w 1752"/>
                  <a:gd name="T13" fmla="*/ 40 h 3296"/>
                  <a:gd name="T14" fmla="*/ 1294 w 1752"/>
                  <a:gd name="T15" fmla="*/ 0 h 3296"/>
                  <a:gd name="T16" fmla="*/ 520 w 1752"/>
                  <a:gd name="T17" fmla="*/ 797 h 3296"/>
                  <a:gd name="T18" fmla="*/ 520 w 1752"/>
                  <a:gd name="T19" fmla="*/ 1248 h 3296"/>
                  <a:gd name="T20" fmla="*/ 0 w 1752"/>
                  <a:gd name="T21" fmla="*/ 1248 h 3296"/>
                  <a:gd name="T22" fmla="*/ 0 w 1752"/>
                  <a:gd name="T23" fmla="*/ 1840 h 3296"/>
                  <a:gd name="T24" fmla="*/ 520 w 1752"/>
                  <a:gd name="T25" fmla="*/ 1840 h 3296"/>
                  <a:gd name="T26" fmla="*/ 520 w 1752"/>
                  <a:gd name="T27" fmla="*/ 3271 h 3296"/>
                  <a:gd name="T28" fmla="*/ 840 w 1752"/>
                  <a:gd name="T29" fmla="*/ 3296 h 3296"/>
                  <a:gd name="T30" fmla="*/ 1160 w 1752"/>
                  <a:gd name="T31" fmla="*/ 3271 h 3296"/>
                  <a:gd name="T32" fmla="*/ 1160 w 1752"/>
                  <a:gd name="T33" fmla="*/ 1840 h 3296"/>
                  <a:gd name="T34" fmla="*/ 1637 w 1752"/>
                  <a:gd name="T35" fmla="*/ 1840 h 3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52" h="3296">
                    <a:moveTo>
                      <a:pt x="1637" y="1840"/>
                    </a:moveTo>
                    <a:cubicBezTo>
                      <a:pt x="1728" y="1248"/>
                      <a:pt x="1728" y="1248"/>
                      <a:pt x="1728" y="1248"/>
                    </a:cubicBezTo>
                    <a:cubicBezTo>
                      <a:pt x="1160" y="1248"/>
                      <a:pt x="1160" y="1248"/>
                      <a:pt x="1160" y="1248"/>
                    </a:cubicBezTo>
                    <a:cubicBezTo>
                      <a:pt x="1160" y="864"/>
                      <a:pt x="1160" y="864"/>
                      <a:pt x="1160" y="864"/>
                    </a:cubicBezTo>
                    <a:cubicBezTo>
                      <a:pt x="1160" y="702"/>
                      <a:pt x="1239" y="544"/>
                      <a:pt x="1494" y="544"/>
                    </a:cubicBezTo>
                    <a:cubicBezTo>
                      <a:pt x="1752" y="544"/>
                      <a:pt x="1752" y="544"/>
                      <a:pt x="1752" y="544"/>
                    </a:cubicBezTo>
                    <a:cubicBezTo>
                      <a:pt x="1752" y="40"/>
                      <a:pt x="1752" y="40"/>
                      <a:pt x="1752" y="40"/>
                    </a:cubicBezTo>
                    <a:cubicBezTo>
                      <a:pt x="1752" y="40"/>
                      <a:pt x="1518" y="0"/>
                      <a:pt x="1294" y="0"/>
                    </a:cubicBezTo>
                    <a:cubicBezTo>
                      <a:pt x="826" y="0"/>
                      <a:pt x="520" y="283"/>
                      <a:pt x="520" y="797"/>
                    </a:cubicBezTo>
                    <a:cubicBezTo>
                      <a:pt x="520" y="1248"/>
                      <a:pt x="520" y="1248"/>
                      <a:pt x="520" y="1248"/>
                    </a:cubicBezTo>
                    <a:cubicBezTo>
                      <a:pt x="0" y="1248"/>
                      <a:pt x="0" y="1248"/>
                      <a:pt x="0" y="1248"/>
                    </a:cubicBezTo>
                    <a:cubicBezTo>
                      <a:pt x="0" y="1840"/>
                      <a:pt x="0" y="1840"/>
                      <a:pt x="0" y="1840"/>
                    </a:cubicBezTo>
                    <a:cubicBezTo>
                      <a:pt x="520" y="1840"/>
                      <a:pt x="520" y="1840"/>
                      <a:pt x="520" y="1840"/>
                    </a:cubicBezTo>
                    <a:cubicBezTo>
                      <a:pt x="520" y="3271"/>
                      <a:pt x="520" y="3271"/>
                      <a:pt x="520" y="3271"/>
                    </a:cubicBezTo>
                    <a:cubicBezTo>
                      <a:pt x="624" y="3288"/>
                      <a:pt x="731" y="3296"/>
                      <a:pt x="840" y="3296"/>
                    </a:cubicBezTo>
                    <a:cubicBezTo>
                      <a:pt x="949" y="3296"/>
                      <a:pt x="1056" y="3287"/>
                      <a:pt x="1160" y="3271"/>
                    </a:cubicBezTo>
                    <a:cubicBezTo>
                      <a:pt x="1160" y="1840"/>
                      <a:pt x="1160" y="1840"/>
                      <a:pt x="1160" y="1840"/>
                    </a:cubicBezTo>
                    <a:lnTo>
                      <a:pt x="1637" y="1840"/>
                    </a:lnTo>
                    <a:close/>
                  </a:path>
                </a:pathLst>
              </a:custGeom>
              <a:solidFill>
                <a:srgbClr val="FEFEF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2000"/>
              </a:p>
            </p:txBody>
          </p:sp>
        </p:grpSp>
        <p:grpSp>
          <p:nvGrpSpPr>
            <p:cNvPr id="61" name="Gruppieren 60"/>
            <p:cNvGrpSpPr/>
            <p:nvPr/>
          </p:nvGrpSpPr>
          <p:grpSpPr>
            <a:xfrm>
              <a:off x="1294642" y="5602380"/>
              <a:ext cx="267728" cy="267728"/>
              <a:chOff x="820140" y="5602380"/>
              <a:chExt cx="267728" cy="267728"/>
            </a:xfrm>
          </p:grpSpPr>
          <p:sp>
            <p:nvSpPr>
              <p:cNvPr id="63" name="Rechteck 62"/>
              <p:cNvSpPr/>
              <p:nvPr/>
            </p:nvSpPr>
            <p:spPr bwMode="gray">
              <a:xfrm>
                <a:off x="820140" y="5602380"/>
                <a:ext cx="267728" cy="267728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 eaLnBrk="1" fontAlgn="auto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de-DE" sz="2000" b="0" i="0" u="none" baseline="0" dirty="0">
                  <a:solidFill>
                    <a:srgbClr val="FFFFFF"/>
                  </a:solidFill>
                  <a:latin typeface="Arial" panose="020B0604020202020204" pitchFamily="34" charset="0"/>
                </a:endParaRPr>
              </a:p>
            </p:txBody>
          </p:sp>
          <p:grpSp>
            <p:nvGrpSpPr>
              <p:cNvPr id="64" name="Gruppieren 63"/>
              <p:cNvGrpSpPr/>
              <p:nvPr/>
            </p:nvGrpSpPr>
            <p:grpSpPr>
              <a:xfrm>
                <a:off x="890310" y="5673045"/>
                <a:ext cx="127388" cy="126397"/>
                <a:chOff x="1054772" y="6315956"/>
                <a:chExt cx="181879" cy="180464"/>
              </a:xfrm>
            </p:grpSpPr>
            <p:grpSp>
              <p:nvGrpSpPr>
                <p:cNvPr id="65" name="Gruppieren 64"/>
                <p:cNvGrpSpPr/>
                <p:nvPr/>
              </p:nvGrpSpPr>
              <p:grpSpPr>
                <a:xfrm>
                  <a:off x="1054772" y="6315956"/>
                  <a:ext cx="181879" cy="180464"/>
                  <a:chOff x="1931988" y="6218238"/>
                  <a:chExt cx="407987" cy="404813"/>
                </a:xfrm>
              </p:grpSpPr>
              <p:sp>
                <p:nvSpPr>
                  <p:cNvPr id="67" name="Oval 10"/>
                  <p:cNvSpPr>
                    <a:spLocks noChangeArrowheads="1"/>
                  </p:cNvSpPr>
                  <p:nvPr/>
                </p:nvSpPr>
                <p:spPr bwMode="auto">
                  <a:xfrm>
                    <a:off x="2036763" y="6323013"/>
                    <a:ext cx="200025" cy="196850"/>
                  </a:xfrm>
                  <a:prstGeom prst="ellipse">
                    <a:avLst/>
                  </a:prstGeom>
                  <a:noFill/>
                  <a:ln w="12700" cap="rnd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000" b="1"/>
                  </a:p>
                </p:txBody>
              </p:sp>
              <p:sp>
                <p:nvSpPr>
                  <p:cNvPr id="68" name="Freeform 11"/>
                  <p:cNvSpPr>
                    <a:spLocks/>
                  </p:cNvSpPr>
                  <p:nvPr/>
                </p:nvSpPr>
                <p:spPr bwMode="auto">
                  <a:xfrm>
                    <a:off x="1931988" y="6218238"/>
                    <a:ext cx="407987" cy="404813"/>
                  </a:xfrm>
                  <a:custGeom>
                    <a:avLst/>
                    <a:gdLst>
                      <a:gd name="T0" fmla="*/ 105 w 106"/>
                      <a:gd name="T1" fmla="*/ 31 h 105"/>
                      <a:gd name="T2" fmla="*/ 103 w 106"/>
                      <a:gd name="T3" fmla="*/ 18 h 105"/>
                      <a:gd name="T4" fmla="*/ 97 w 106"/>
                      <a:gd name="T5" fmla="*/ 8 h 105"/>
                      <a:gd name="T6" fmla="*/ 87 w 106"/>
                      <a:gd name="T7" fmla="*/ 2 h 105"/>
                      <a:gd name="T8" fmla="*/ 75 w 106"/>
                      <a:gd name="T9" fmla="*/ 0 h 105"/>
                      <a:gd name="T10" fmla="*/ 53 w 106"/>
                      <a:gd name="T11" fmla="*/ 0 h 105"/>
                      <a:gd name="T12" fmla="*/ 31 w 106"/>
                      <a:gd name="T13" fmla="*/ 0 h 105"/>
                      <a:gd name="T14" fmla="*/ 18 w 106"/>
                      <a:gd name="T15" fmla="*/ 2 h 105"/>
                      <a:gd name="T16" fmla="*/ 9 w 106"/>
                      <a:gd name="T17" fmla="*/ 8 h 105"/>
                      <a:gd name="T18" fmla="*/ 3 w 106"/>
                      <a:gd name="T19" fmla="*/ 18 h 105"/>
                      <a:gd name="T20" fmla="*/ 1 w 106"/>
                      <a:gd name="T21" fmla="*/ 31 h 105"/>
                      <a:gd name="T22" fmla="*/ 0 w 106"/>
                      <a:gd name="T23" fmla="*/ 52 h 105"/>
                      <a:gd name="T24" fmla="*/ 1 w 106"/>
                      <a:gd name="T25" fmla="*/ 74 h 105"/>
                      <a:gd name="T26" fmla="*/ 3 w 106"/>
                      <a:gd name="T27" fmla="*/ 87 h 105"/>
                      <a:gd name="T28" fmla="*/ 9 w 106"/>
                      <a:gd name="T29" fmla="*/ 96 h 105"/>
                      <a:gd name="T30" fmla="*/ 18 w 106"/>
                      <a:gd name="T31" fmla="*/ 102 h 105"/>
                      <a:gd name="T32" fmla="*/ 31 w 106"/>
                      <a:gd name="T33" fmla="*/ 105 h 105"/>
                      <a:gd name="T34" fmla="*/ 53 w 106"/>
                      <a:gd name="T35" fmla="*/ 105 h 105"/>
                      <a:gd name="T36" fmla="*/ 75 w 106"/>
                      <a:gd name="T37" fmla="*/ 105 h 105"/>
                      <a:gd name="T38" fmla="*/ 87 w 106"/>
                      <a:gd name="T39" fmla="*/ 102 h 105"/>
                      <a:gd name="T40" fmla="*/ 97 w 106"/>
                      <a:gd name="T41" fmla="*/ 96 h 105"/>
                      <a:gd name="T42" fmla="*/ 103 w 106"/>
                      <a:gd name="T43" fmla="*/ 87 h 105"/>
                      <a:gd name="T44" fmla="*/ 105 w 106"/>
                      <a:gd name="T45" fmla="*/ 74 h 105"/>
                      <a:gd name="T46" fmla="*/ 106 w 106"/>
                      <a:gd name="T47" fmla="*/ 52 h 105"/>
                      <a:gd name="T48" fmla="*/ 105 w 106"/>
                      <a:gd name="T49" fmla="*/ 31 h 10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</a:cxnLst>
                    <a:rect l="0" t="0" r="r" b="b"/>
                    <a:pathLst>
                      <a:path w="106" h="105">
                        <a:moveTo>
                          <a:pt x="105" y="31"/>
                        </a:moveTo>
                        <a:cubicBezTo>
                          <a:pt x="105" y="25"/>
                          <a:pt x="104" y="21"/>
                          <a:pt x="103" y="18"/>
                        </a:cubicBezTo>
                        <a:cubicBezTo>
                          <a:pt x="101" y="14"/>
                          <a:pt x="100" y="11"/>
                          <a:pt x="97" y="8"/>
                        </a:cubicBezTo>
                        <a:cubicBezTo>
                          <a:pt x="94" y="6"/>
                          <a:pt x="91" y="4"/>
                          <a:pt x="87" y="2"/>
                        </a:cubicBezTo>
                        <a:cubicBezTo>
                          <a:pt x="84" y="1"/>
                          <a:pt x="80" y="0"/>
                          <a:pt x="75" y="0"/>
                        </a:cubicBezTo>
                        <a:cubicBezTo>
                          <a:pt x="69" y="0"/>
                          <a:pt x="67" y="0"/>
                          <a:pt x="53" y="0"/>
                        </a:cubicBezTo>
                        <a:cubicBezTo>
                          <a:pt x="39" y="0"/>
                          <a:pt x="37" y="0"/>
                          <a:pt x="31" y="0"/>
                        </a:cubicBezTo>
                        <a:cubicBezTo>
                          <a:pt x="26" y="0"/>
                          <a:pt x="22" y="1"/>
                          <a:pt x="18" y="2"/>
                        </a:cubicBezTo>
                        <a:cubicBezTo>
                          <a:pt x="15" y="4"/>
                          <a:pt x="12" y="6"/>
                          <a:pt x="9" y="8"/>
                        </a:cubicBezTo>
                        <a:cubicBezTo>
                          <a:pt x="6" y="11"/>
                          <a:pt x="4" y="14"/>
                          <a:pt x="3" y="18"/>
                        </a:cubicBezTo>
                        <a:cubicBezTo>
                          <a:pt x="2" y="21"/>
                          <a:pt x="1" y="25"/>
                          <a:pt x="1" y="31"/>
                        </a:cubicBezTo>
                        <a:cubicBezTo>
                          <a:pt x="0" y="36"/>
                          <a:pt x="0" y="38"/>
                          <a:pt x="0" y="52"/>
                        </a:cubicBezTo>
                        <a:cubicBezTo>
                          <a:pt x="0" y="67"/>
                          <a:pt x="0" y="68"/>
                          <a:pt x="1" y="74"/>
                        </a:cubicBezTo>
                        <a:cubicBezTo>
                          <a:pt x="1" y="80"/>
                          <a:pt x="2" y="84"/>
                          <a:pt x="3" y="87"/>
                        </a:cubicBezTo>
                        <a:cubicBezTo>
                          <a:pt x="4" y="90"/>
                          <a:pt x="6" y="93"/>
                          <a:pt x="9" y="96"/>
                        </a:cubicBezTo>
                        <a:cubicBezTo>
                          <a:pt x="12" y="99"/>
                          <a:pt x="15" y="101"/>
                          <a:pt x="18" y="102"/>
                        </a:cubicBezTo>
                        <a:cubicBezTo>
                          <a:pt x="22" y="104"/>
                          <a:pt x="26" y="104"/>
                          <a:pt x="31" y="105"/>
                        </a:cubicBezTo>
                        <a:cubicBezTo>
                          <a:pt x="37" y="105"/>
                          <a:pt x="39" y="105"/>
                          <a:pt x="53" y="105"/>
                        </a:cubicBezTo>
                        <a:cubicBezTo>
                          <a:pt x="67" y="105"/>
                          <a:pt x="69" y="105"/>
                          <a:pt x="75" y="105"/>
                        </a:cubicBezTo>
                        <a:cubicBezTo>
                          <a:pt x="80" y="104"/>
                          <a:pt x="84" y="104"/>
                          <a:pt x="87" y="102"/>
                        </a:cubicBezTo>
                        <a:cubicBezTo>
                          <a:pt x="91" y="101"/>
                          <a:pt x="94" y="99"/>
                          <a:pt x="97" y="96"/>
                        </a:cubicBezTo>
                        <a:cubicBezTo>
                          <a:pt x="100" y="93"/>
                          <a:pt x="101" y="90"/>
                          <a:pt x="103" y="87"/>
                        </a:cubicBezTo>
                        <a:cubicBezTo>
                          <a:pt x="104" y="84"/>
                          <a:pt x="105" y="80"/>
                          <a:pt x="105" y="74"/>
                        </a:cubicBezTo>
                        <a:cubicBezTo>
                          <a:pt x="106" y="68"/>
                          <a:pt x="106" y="67"/>
                          <a:pt x="106" y="52"/>
                        </a:cubicBezTo>
                        <a:cubicBezTo>
                          <a:pt x="106" y="38"/>
                          <a:pt x="106" y="36"/>
                          <a:pt x="105" y="31"/>
                        </a:cubicBezTo>
                        <a:close/>
                      </a:path>
                    </a:pathLst>
                  </a:custGeom>
                  <a:noFill/>
                  <a:ln w="12700" cap="rnd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de-DE" sz="2000" b="1"/>
                  </a:p>
                </p:txBody>
              </p:sp>
            </p:grpSp>
            <p:sp>
              <p:nvSpPr>
                <p:cNvPr id="66" name="Ellipse 65"/>
                <p:cNvSpPr/>
                <p:nvPr/>
              </p:nvSpPr>
              <p:spPr bwMode="gray">
                <a:xfrm flipV="1">
                  <a:off x="1190650" y="6344129"/>
                  <a:ext cx="18000" cy="18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rtl="0" eaLnBrk="1" fontAlgn="auto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</a:pPr>
                  <a:endParaRPr lang="de-DE" sz="2000" b="0" i="0" u="none" baseline="0" dirty="0">
                    <a:solidFill>
                      <a:srgbClr val="FFFFFF"/>
                    </a:solidFill>
                    <a:latin typeface="Arial" panose="020B0604020202020204" pitchFamily="34" charset="0"/>
                  </a:endParaRPr>
                </a:p>
              </p:txBody>
            </p:sp>
          </p:grpSp>
        </p:grpSp>
        <p:cxnSp>
          <p:nvCxnSpPr>
            <p:cNvPr id="62" name="Gerader Verbinder 73">
              <a:extLst>
                <a:ext uri="{FF2B5EF4-FFF2-40B4-BE49-F238E27FC236}">
                  <a16:creationId xmlns:a16="http://schemas.microsoft.com/office/drawing/2014/main" id="{2AD2E700-DECC-4AE5-8448-A2AFF3A561A3}"/>
                </a:ext>
              </a:extLst>
            </p:cNvPr>
            <p:cNvCxnSpPr/>
            <p:nvPr/>
          </p:nvCxnSpPr>
          <p:spPr bwMode="gray">
            <a:xfrm>
              <a:off x="976387" y="5326750"/>
              <a:ext cx="2005200" cy="0"/>
            </a:xfrm>
            <a:prstGeom prst="line">
              <a:avLst/>
            </a:prstGeom>
            <a:ln w="12700">
              <a:solidFill>
                <a:srgbClr val="10384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3" name="Untertitel 1"/>
          <p:cNvSpPr txBox="1">
            <a:spLocks/>
          </p:cNvSpPr>
          <p:nvPr/>
        </p:nvSpPr>
        <p:spPr bwMode="gray">
          <a:xfrm>
            <a:off x="3316714" y="2018962"/>
            <a:ext cx="1917417" cy="2185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/>
              <a:t>Quote Cards</a:t>
            </a:r>
          </a:p>
        </p:txBody>
      </p:sp>
      <p:sp>
        <p:nvSpPr>
          <p:cNvPr id="74" name="Untertitel 1"/>
          <p:cNvSpPr txBox="1">
            <a:spLocks/>
          </p:cNvSpPr>
          <p:nvPr/>
        </p:nvSpPr>
        <p:spPr bwMode="gray">
          <a:xfrm>
            <a:off x="5359405" y="2018962"/>
            <a:ext cx="1920441" cy="2185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/>
              <a:t>Text Box</a:t>
            </a:r>
          </a:p>
        </p:txBody>
      </p:sp>
      <p:sp>
        <p:nvSpPr>
          <p:cNvPr id="75" name="Untertitel 1"/>
          <p:cNvSpPr txBox="1">
            <a:spLocks/>
          </p:cNvSpPr>
          <p:nvPr/>
        </p:nvSpPr>
        <p:spPr bwMode="gray">
          <a:xfrm>
            <a:off x="9456880" y="2018962"/>
            <a:ext cx="1914658" cy="2185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/>
              <a:t>Stories</a:t>
            </a:r>
          </a:p>
        </p:txBody>
      </p:sp>
      <p:sp>
        <p:nvSpPr>
          <p:cNvPr id="76" name="Untertitel 1"/>
          <p:cNvSpPr txBox="1">
            <a:spLocks/>
          </p:cNvSpPr>
          <p:nvPr/>
        </p:nvSpPr>
        <p:spPr bwMode="gray">
          <a:xfrm>
            <a:off x="7416157" y="2018962"/>
            <a:ext cx="1909404" cy="2185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/>
              <a:t>Company Announcements</a:t>
            </a:r>
          </a:p>
        </p:txBody>
      </p:sp>
      <p:grpSp>
        <p:nvGrpSpPr>
          <p:cNvPr id="77" name="Gruppieren 76"/>
          <p:cNvGrpSpPr/>
          <p:nvPr/>
        </p:nvGrpSpPr>
        <p:grpSpPr>
          <a:xfrm>
            <a:off x="5365625" y="2543774"/>
            <a:ext cx="1914221" cy="1909440"/>
            <a:chOff x="5271687" y="2796962"/>
            <a:chExt cx="1914221" cy="1909440"/>
          </a:xfrm>
        </p:grpSpPr>
        <p:sp>
          <p:nvSpPr>
            <p:cNvPr id="78" name="Rechteck 77"/>
            <p:cNvSpPr/>
            <p:nvPr/>
          </p:nvSpPr>
          <p:spPr bwMode="gray">
            <a:xfrm>
              <a:off x="5276504" y="2796962"/>
              <a:ext cx="1909404" cy="1909404"/>
            </a:xfrm>
            <a:prstGeom prst="rect">
              <a:avLst/>
            </a:prstGeom>
            <a:blipFill dpi="0"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800" b="0" i="0" u="none" baseline="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pic>
          <p:nvPicPr>
            <p:cNvPr id="80" name="Picture 2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5271687" y="2798402"/>
              <a:ext cx="1908000" cy="19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1" name="Gruppieren 80"/>
          <p:cNvGrpSpPr/>
          <p:nvPr/>
        </p:nvGrpSpPr>
        <p:grpSpPr>
          <a:xfrm>
            <a:off x="3316714" y="2543036"/>
            <a:ext cx="1911478" cy="1910880"/>
            <a:chOff x="3222776" y="2796962"/>
            <a:chExt cx="1911478" cy="1910880"/>
          </a:xfrm>
        </p:grpSpPr>
        <p:sp>
          <p:nvSpPr>
            <p:cNvPr id="82" name="Rechteck 81"/>
            <p:cNvSpPr/>
            <p:nvPr/>
          </p:nvSpPr>
          <p:spPr bwMode="gray">
            <a:xfrm>
              <a:off x="3222776" y="2796962"/>
              <a:ext cx="1910880" cy="1910880"/>
            </a:xfrm>
            <a:prstGeom prst="rect">
              <a:avLst/>
            </a:prstGeom>
            <a:blipFill dpi="0"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800" b="0" i="0" u="none" baseline="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pic>
          <p:nvPicPr>
            <p:cNvPr id="84" name="Picture 3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226254" y="2796962"/>
              <a:ext cx="1908000" cy="19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6" name="Rechteck 85"/>
          <p:cNvSpPr/>
          <p:nvPr/>
        </p:nvSpPr>
        <p:spPr bwMode="gray">
          <a:xfrm>
            <a:off x="7416157" y="2543774"/>
            <a:ext cx="1909404" cy="1909404"/>
          </a:xfrm>
          <a:prstGeom prst="rect">
            <a:avLst/>
          </a:prstGeom>
          <a:blipFill dpi="0"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de-DE" sz="1800" b="0" i="0" u="none" baseline="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pic>
        <p:nvPicPr>
          <p:cNvPr id="98" name="Grafik 97">
            <a:extLst>
              <a:ext uri="{FF2B5EF4-FFF2-40B4-BE49-F238E27FC236}">
                <a16:creationId xmlns:a16="http://schemas.microsoft.com/office/drawing/2014/main" id="{D2E4C902-AEA9-4DAF-AB92-48512974718F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1976" t="1892"/>
          <a:stretch/>
        </p:blipFill>
        <p:spPr>
          <a:xfrm>
            <a:off x="7417669" y="2543774"/>
            <a:ext cx="1907892" cy="1915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4705938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316713" y="2237561"/>
            <a:ext cx="3517878" cy="3517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ubtitle 5"/>
          <p:cNvSpPr>
            <a:spLocks noGrp="1"/>
          </p:cNvSpPr>
          <p:nvPr>
            <p:ph type="subTitle" idx="13"/>
          </p:nvPr>
        </p:nvSpPr>
        <p:spPr>
          <a:xfrm>
            <a:off x="981820" y="1138299"/>
            <a:ext cx="10798461" cy="252000"/>
          </a:xfrm>
        </p:spPr>
        <p:txBody>
          <a:bodyPr/>
          <a:lstStyle/>
          <a:p>
            <a:r>
              <a:rPr lang="en-US" dirty="0"/>
              <a:t>PowerPoint Short Guid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1821" y="181938"/>
            <a:ext cx="10798460" cy="864000"/>
          </a:xfrm>
        </p:spPr>
        <p:txBody>
          <a:bodyPr/>
          <a:lstStyle/>
          <a:p>
            <a:r>
              <a:rPr lang="en-US" dirty="0"/>
              <a:t>Edit basic Post </a:t>
            </a:r>
          </a:p>
        </p:txBody>
      </p:sp>
      <p:sp>
        <p:nvSpPr>
          <p:cNvPr id="20" name="Foliennummernplatzhalter 1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5</a:t>
            </a:fld>
            <a:endParaRPr lang="en-US" dirty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2EF5BA3C-6185-4FE6-9016-649CD6C0AD39}"/>
              </a:ext>
            </a:extLst>
          </p:cNvPr>
          <p:cNvSpPr txBox="1">
            <a:spLocks/>
          </p:cNvSpPr>
          <p:nvPr/>
        </p:nvSpPr>
        <p:spPr bwMode="gray">
          <a:xfrm>
            <a:off x="981820" y="2241539"/>
            <a:ext cx="2248600" cy="338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Aft>
                <a:spcPts val="300"/>
              </a:spcAft>
              <a:buNone/>
            </a:pPr>
            <a:r>
              <a:rPr lang="en-US" sz="1400" dirty="0">
                <a:solidFill>
                  <a:srgbClr val="10384F"/>
                </a:solidFill>
              </a:rPr>
              <a:t>The PPT templates in the appropriate formats (Instagram, Facebook, LinkedIn) enable simple and uniform creation of social media posts.</a:t>
            </a:r>
          </a:p>
          <a:p>
            <a:pPr marL="0" lvl="1" indent="0">
              <a:spcAft>
                <a:spcPts val="300"/>
              </a:spcAft>
              <a:buNone/>
            </a:pPr>
            <a:endParaRPr lang="en-US" sz="1400" dirty="0">
              <a:solidFill>
                <a:srgbClr val="10384F"/>
              </a:solidFill>
            </a:endParaRPr>
          </a:p>
          <a:p>
            <a:pPr marL="0" lvl="1" indent="0">
              <a:spcAft>
                <a:spcPts val="300"/>
              </a:spcAft>
              <a:buNone/>
            </a:pPr>
            <a:r>
              <a:rPr lang="en-US" sz="1400" dirty="0">
                <a:solidFill>
                  <a:srgbClr val="10384F"/>
                </a:solidFill>
              </a:rPr>
              <a:t>The layout of the respective </a:t>
            </a:r>
            <a:br>
              <a:rPr lang="en-US" sz="1400" dirty="0">
                <a:solidFill>
                  <a:srgbClr val="10384F"/>
                </a:solidFill>
              </a:rPr>
            </a:br>
            <a:r>
              <a:rPr lang="en-US" sz="1400" dirty="0">
                <a:solidFill>
                  <a:srgbClr val="10384F"/>
                </a:solidFill>
              </a:rPr>
              <a:t>post </a:t>
            </a:r>
            <a:r>
              <a:rPr lang="en-US" sz="1400" b="1" dirty="0">
                <a:solidFill>
                  <a:srgbClr val="10384F"/>
                </a:solidFill>
              </a:rPr>
              <a:t>can also be personalized</a:t>
            </a:r>
            <a:r>
              <a:rPr lang="en-US" sz="1400" dirty="0">
                <a:solidFill>
                  <a:srgbClr val="10384F"/>
                </a:solidFill>
              </a:rPr>
              <a:t>. </a:t>
            </a:r>
          </a:p>
          <a:p>
            <a:pPr marL="0" lvl="1" indent="0">
              <a:spcAft>
                <a:spcPts val="300"/>
              </a:spcAft>
              <a:buNone/>
            </a:pPr>
            <a:br>
              <a:rPr lang="en-US" sz="1400" dirty="0">
                <a:solidFill>
                  <a:srgbClr val="10384F"/>
                </a:solidFill>
              </a:rPr>
            </a:br>
            <a:r>
              <a:rPr lang="en-US" sz="1400" dirty="0">
                <a:solidFill>
                  <a:srgbClr val="10384F"/>
                </a:solidFill>
              </a:rPr>
              <a:t>In addition to the color of the elements, text and images can also be exchanged and adapted. </a:t>
            </a:r>
          </a:p>
        </p:txBody>
      </p:sp>
      <p:sp>
        <p:nvSpPr>
          <p:cNvPr id="44" name="Untertitel 1"/>
          <p:cNvSpPr txBox="1">
            <a:spLocks/>
          </p:cNvSpPr>
          <p:nvPr/>
        </p:nvSpPr>
        <p:spPr bwMode="gray">
          <a:xfrm>
            <a:off x="3316713" y="2018962"/>
            <a:ext cx="1917417" cy="2185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/>
              <a:t>Basic Post Example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2EF5BA3C-6185-4FE6-9016-649CD6C0AD39}"/>
              </a:ext>
            </a:extLst>
          </p:cNvPr>
          <p:cNvSpPr txBox="1">
            <a:spLocks/>
          </p:cNvSpPr>
          <p:nvPr/>
        </p:nvSpPr>
        <p:spPr bwMode="gray">
          <a:xfrm>
            <a:off x="7432385" y="2287559"/>
            <a:ext cx="3939152" cy="75405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Aft>
                <a:spcPts val="300"/>
              </a:spcAft>
              <a:buNone/>
            </a:pPr>
            <a:r>
              <a:rPr lang="en-US" sz="1100" b="1" dirty="0">
                <a:solidFill>
                  <a:srgbClr val="10384F"/>
                </a:solidFill>
              </a:rPr>
              <a:t>Inserting image</a:t>
            </a:r>
            <a:endParaRPr lang="en-US" sz="1100" dirty="0">
              <a:solidFill>
                <a:srgbClr val="10384F"/>
              </a:solidFill>
            </a:endParaRPr>
          </a:p>
          <a:p>
            <a:pPr marL="0" lvl="1" indent="0">
              <a:spcAft>
                <a:spcPts val="300"/>
              </a:spcAft>
              <a:buNone/>
            </a:pPr>
            <a:r>
              <a:rPr lang="en-US" sz="1100" dirty="0">
                <a:solidFill>
                  <a:srgbClr val="10384F"/>
                </a:solidFill>
              </a:rPr>
              <a:t>Click on the picture and select the desired picture via “Fill Effect-&gt; Picture-&gt; From File”. Then click on the picture and then at the top on “Image Format-&gt; Crop-&gt; Fill” 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EF5BA3C-6185-4FE6-9016-649CD6C0AD39}"/>
              </a:ext>
            </a:extLst>
          </p:cNvPr>
          <p:cNvSpPr txBox="1">
            <a:spLocks/>
          </p:cNvSpPr>
          <p:nvPr/>
        </p:nvSpPr>
        <p:spPr bwMode="gray">
          <a:xfrm>
            <a:off x="7432385" y="4195401"/>
            <a:ext cx="3939152" cy="75405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Aft>
                <a:spcPts val="300"/>
              </a:spcAft>
              <a:buNone/>
            </a:pPr>
            <a:r>
              <a:rPr lang="en-US" sz="1100" b="1" dirty="0">
                <a:solidFill>
                  <a:srgbClr val="10384F"/>
                </a:solidFill>
              </a:rPr>
              <a:t>Edit text</a:t>
            </a:r>
            <a:endParaRPr lang="en-US" sz="1100" dirty="0">
              <a:solidFill>
                <a:srgbClr val="10384F"/>
              </a:solidFill>
            </a:endParaRPr>
          </a:p>
          <a:p>
            <a:pPr marL="0" lvl="1" indent="0">
              <a:spcAft>
                <a:spcPts val="300"/>
              </a:spcAft>
              <a:buNone/>
            </a:pPr>
            <a:r>
              <a:rPr lang="en-US" sz="1100" dirty="0">
                <a:solidFill>
                  <a:srgbClr val="10384F"/>
                </a:solidFill>
              </a:rPr>
              <a:t>Click in the text placeholder and enter the text you want. </a:t>
            </a:r>
            <a:br>
              <a:rPr lang="en-US" sz="1100" dirty="0">
                <a:solidFill>
                  <a:srgbClr val="10384F"/>
                </a:solidFill>
              </a:rPr>
            </a:br>
            <a:r>
              <a:rPr lang="en-US" sz="1100" dirty="0">
                <a:solidFill>
                  <a:srgbClr val="10384F"/>
                </a:solidFill>
              </a:rPr>
              <a:t>To change the text color, select the text and choose a desired </a:t>
            </a:r>
            <a:br>
              <a:rPr lang="en-US" sz="1100" dirty="0">
                <a:solidFill>
                  <a:srgbClr val="10384F"/>
                </a:solidFill>
              </a:rPr>
            </a:br>
            <a:r>
              <a:rPr lang="en-US" sz="1100" dirty="0">
                <a:solidFill>
                  <a:srgbClr val="10384F"/>
                </a:solidFill>
              </a:rPr>
              <a:t>color via “Font color”.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2EF5BA3C-6185-4FE6-9016-649CD6C0AD39}"/>
              </a:ext>
            </a:extLst>
          </p:cNvPr>
          <p:cNvSpPr txBox="1">
            <a:spLocks/>
          </p:cNvSpPr>
          <p:nvPr/>
        </p:nvSpPr>
        <p:spPr bwMode="gray">
          <a:xfrm>
            <a:off x="7432385" y="5207216"/>
            <a:ext cx="3939152" cy="54630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1100" b="1" dirty="0">
                <a:solidFill>
                  <a:srgbClr val="10384F"/>
                </a:solidFill>
              </a:rPr>
              <a:t>Export file</a:t>
            </a:r>
            <a:endParaRPr lang="en-US" sz="1100" dirty="0">
              <a:solidFill>
                <a:srgbClr val="10384F"/>
              </a:solidFill>
            </a:endParaRPr>
          </a:p>
          <a:p>
            <a:pPr marL="0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1100" dirty="0">
                <a:solidFill>
                  <a:srgbClr val="10384F"/>
                </a:solidFill>
              </a:rPr>
              <a:t>To export the design for the post on the social media channel, </a:t>
            </a:r>
            <a:br>
              <a:rPr lang="en-US" sz="1100" dirty="0">
                <a:solidFill>
                  <a:srgbClr val="10384F"/>
                </a:solidFill>
              </a:rPr>
            </a:br>
            <a:r>
              <a:rPr lang="en-US" sz="1100" dirty="0">
                <a:solidFill>
                  <a:srgbClr val="10384F"/>
                </a:solidFill>
              </a:rPr>
              <a:t>click on “File-&gt; Export-&gt; Change file type-&gt; Jpeg”. 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2EF5BA3C-6185-4FE6-9016-649CD6C0AD39}"/>
              </a:ext>
            </a:extLst>
          </p:cNvPr>
          <p:cNvSpPr txBox="1">
            <a:spLocks/>
          </p:cNvSpPr>
          <p:nvPr/>
        </p:nvSpPr>
        <p:spPr bwMode="gray">
          <a:xfrm>
            <a:off x="7432385" y="3337474"/>
            <a:ext cx="3939152" cy="584775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4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Aft>
                <a:spcPts val="300"/>
              </a:spcAft>
              <a:buNone/>
            </a:pPr>
            <a:r>
              <a:rPr lang="en-US" sz="1100" b="1" dirty="0">
                <a:solidFill>
                  <a:srgbClr val="10384F"/>
                </a:solidFill>
              </a:rPr>
              <a:t>Change color</a:t>
            </a:r>
            <a:endParaRPr lang="en-US" sz="1100" dirty="0">
              <a:solidFill>
                <a:srgbClr val="10384F"/>
              </a:solidFill>
            </a:endParaRPr>
          </a:p>
          <a:p>
            <a:pPr marL="0" lvl="1" indent="0">
              <a:spcAft>
                <a:spcPts val="300"/>
              </a:spcAft>
              <a:buNone/>
            </a:pPr>
            <a:r>
              <a:rPr lang="en-US" sz="1100" dirty="0">
                <a:solidFill>
                  <a:srgbClr val="10384F"/>
                </a:solidFill>
              </a:rPr>
              <a:t>Click on the desired element and select a different color from </a:t>
            </a:r>
            <a:br>
              <a:rPr lang="en-US" sz="1100" dirty="0">
                <a:solidFill>
                  <a:srgbClr val="10384F"/>
                </a:solidFill>
              </a:rPr>
            </a:br>
            <a:r>
              <a:rPr lang="en-US" sz="1100" dirty="0">
                <a:solidFill>
                  <a:srgbClr val="10384F"/>
                </a:solidFill>
              </a:rPr>
              <a:t>the color pool via “Fill Effect”. </a:t>
            </a:r>
          </a:p>
        </p:txBody>
      </p:sp>
      <p:grpSp>
        <p:nvGrpSpPr>
          <p:cNvPr id="49" name="Gruppieren 48"/>
          <p:cNvGrpSpPr/>
          <p:nvPr/>
        </p:nvGrpSpPr>
        <p:grpSpPr>
          <a:xfrm>
            <a:off x="4703598" y="2341104"/>
            <a:ext cx="2573804" cy="68668"/>
            <a:chOff x="6477207" y="5150866"/>
            <a:chExt cx="2573804" cy="68668"/>
          </a:xfrm>
        </p:grpSpPr>
        <p:cxnSp>
          <p:nvCxnSpPr>
            <p:cNvPr id="50" name="Gerade Verbindung 49"/>
            <p:cNvCxnSpPr/>
            <p:nvPr/>
          </p:nvCxnSpPr>
          <p:spPr bwMode="gray">
            <a:xfrm>
              <a:off x="6545876" y="5185200"/>
              <a:ext cx="2505135" cy="0"/>
            </a:xfrm>
            <a:prstGeom prst="line">
              <a:avLst/>
            </a:prstGeom>
            <a:ln w="6350">
              <a:solidFill>
                <a:srgbClr val="89D32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Ellipse 50"/>
            <p:cNvSpPr/>
            <p:nvPr/>
          </p:nvSpPr>
          <p:spPr bwMode="gray">
            <a:xfrm flipH="1">
              <a:off x="6477207" y="5150866"/>
              <a:ext cx="68668" cy="68668"/>
            </a:xfrm>
            <a:prstGeom prst="ellipse">
              <a:avLst/>
            </a:prstGeom>
            <a:solidFill>
              <a:srgbClr val="89D3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800" b="0" i="0" u="none" baseline="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52" name="Gruppieren 51"/>
          <p:cNvGrpSpPr/>
          <p:nvPr/>
        </p:nvGrpSpPr>
        <p:grpSpPr>
          <a:xfrm>
            <a:off x="6679630" y="3386590"/>
            <a:ext cx="597772" cy="68668"/>
            <a:chOff x="6477207" y="5150866"/>
            <a:chExt cx="597772" cy="68668"/>
          </a:xfrm>
        </p:grpSpPr>
        <p:cxnSp>
          <p:nvCxnSpPr>
            <p:cNvPr id="55" name="Gerade Verbindung 54"/>
            <p:cNvCxnSpPr/>
            <p:nvPr/>
          </p:nvCxnSpPr>
          <p:spPr bwMode="gray">
            <a:xfrm>
              <a:off x="6545876" y="5185200"/>
              <a:ext cx="529103" cy="0"/>
            </a:xfrm>
            <a:prstGeom prst="line">
              <a:avLst/>
            </a:prstGeom>
            <a:ln w="6350">
              <a:solidFill>
                <a:srgbClr val="89D32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Ellipse 88"/>
            <p:cNvSpPr/>
            <p:nvPr/>
          </p:nvSpPr>
          <p:spPr bwMode="gray">
            <a:xfrm flipH="1">
              <a:off x="6477207" y="5150866"/>
              <a:ext cx="68668" cy="68668"/>
            </a:xfrm>
            <a:prstGeom prst="ellipse">
              <a:avLst/>
            </a:prstGeom>
            <a:solidFill>
              <a:srgbClr val="89D3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800" b="0" i="0" u="none" baseline="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90" name="Gruppieren 89"/>
          <p:cNvGrpSpPr/>
          <p:nvPr/>
        </p:nvGrpSpPr>
        <p:grpSpPr>
          <a:xfrm>
            <a:off x="6555646" y="4244700"/>
            <a:ext cx="721756" cy="68668"/>
            <a:chOff x="6477207" y="5150866"/>
            <a:chExt cx="721756" cy="68668"/>
          </a:xfrm>
        </p:grpSpPr>
        <p:cxnSp>
          <p:nvCxnSpPr>
            <p:cNvPr id="91" name="Gerade Verbindung 90"/>
            <p:cNvCxnSpPr/>
            <p:nvPr/>
          </p:nvCxnSpPr>
          <p:spPr bwMode="gray">
            <a:xfrm>
              <a:off x="6545876" y="5185200"/>
              <a:ext cx="653087" cy="0"/>
            </a:xfrm>
            <a:prstGeom prst="line">
              <a:avLst/>
            </a:prstGeom>
            <a:ln w="6350">
              <a:solidFill>
                <a:srgbClr val="89D32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Ellipse 91"/>
            <p:cNvSpPr/>
            <p:nvPr/>
          </p:nvSpPr>
          <p:spPr bwMode="gray">
            <a:xfrm flipH="1">
              <a:off x="6477207" y="5150866"/>
              <a:ext cx="68668" cy="68668"/>
            </a:xfrm>
            <a:prstGeom prst="ellipse">
              <a:avLst/>
            </a:prstGeom>
            <a:solidFill>
              <a:srgbClr val="89D3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800" b="0" i="0" u="none" baseline="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22" name="Fußzeilenplatzhalter 18">
            <a:extLst>
              <a:ext uri="{FF2B5EF4-FFF2-40B4-BE49-F238E27FC236}">
                <a16:creationId xmlns:a16="http://schemas.microsoft.com/office/drawing/2014/main" id="{52CA22C6-D977-46A3-9D97-B1569C785055}"/>
              </a:ext>
            </a:extLst>
          </p:cNvPr>
          <p:cNvSpPr txBox="1">
            <a:spLocks/>
          </p:cNvSpPr>
          <p:nvPr/>
        </p:nvSpPr>
        <p:spPr bwMode="gray">
          <a:xfrm>
            <a:off x="981820" y="6622062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7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defRPr sz="7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defRPr sz="7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defRPr sz="7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defRPr sz="7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tabLst/>
              <a:defRPr sz="7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tabLst/>
              <a:defRPr sz="7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defRPr sz="7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defRPr sz="7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/// Bayer Communications /// Quick Design Guide Social Media /// November 202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4229626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nstagram_Grid_Post_Animated_210817.wmv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3319152" y="1987313"/>
            <a:ext cx="3767448" cy="3767448"/>
          </a:xfrm>
          <a:prstGeom prst="rect">
            <a:avLst/>
          </a:prstGeom>
        </p:spPr>
      </p:pic>
      <p:sp>
        <p:nvSpPr>
          <p:cNvPr id="6" name="Subtitle 5"/>
          <p:cNvSpPr>
            <a:spLocks noGrp="1"/>
          </p:cNvSpPr>
          <p:nvPr>
            <p:ph type="subTitle" idx="13"/>
          </p:nvPr>
        </p:nvSpPr>
        <p:spPr>
          <a:xfrm>
            <a:off x="981820" y="1138299"/>
            <a:ext cx="10798461" cy="252000"/>
          </a:xfrm>
        </p:spPr>
        <p:txBody>
          <a:bodyPr/>
          <a:lstStyle/>
          <a:p>
            <a:r>
              <a:rPr lang="en-US" dirty="0"/>
              <a:t>PowerPoint Short Guid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1821" y="181938"/>
            <a:ext cx="10798460" cy="864000"/>
          </a:xfrm>
        </p:spPr>
        <p:txBody>
          <a:bodyPr/>
          <a:lstStyle/>
          <a:p>
            <a:r>
              <a:rPr lang="en-US" dirty="0"/>
              <a:t>Edit animated Post </a:t>
            </a:r>
          </a:p>
        </p:txBody>
      </p:sp>
      <p:sp>
        <p:nvSpPr>
          <p:cNvPr id="20" name="Foliennummernplatzhalter 1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t>6</a:t>
            </a:fld>
            <a:endParaRPr lang="en-US" dirty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2EF5BA3C-6185-4FE6-9016-649CD6C0AD39}"/>
              </a:ext>
            </a:extLst>
          </p:cNvPr>
          <p:cNvSpPr txBox="1">
            <a:spLocks/>
          </p:cNvSpPr>
          <p:nvPr/>
        </p:nvSpPr>
        <p:spPr bwMode="gray">
          <a:xfrm>
            <a:off x="974672" y="1857540"/>
            <a:ext cx="2245952" cy="320915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Aft>
                <a:spcPts val="300"/>
              </a:spcAft>
              <a:buNone/>
            </a:pPr>
            <a:r>
              <a:rPr lang="en-US" sz="1200" dirty="0">
                <a:solidFill>
                  <a:srgbClr val="10384F"/>
                </a:solidFill>
              </a:rPr>
              <a:t>In order to increase the attention </a:t>
            </a:r>
            <a:br>
              <a:rPr lang="en-US" sz="1200" dirty="0">
                <a:solidFill>
                  <a:srgbClr val="10384F"/>
                </a:solidFill>
              </a:rPr>
            </a:br>
            <a:r>
              <a:rPr lang="en-US" sz="1200" dirty="0">
                <a:solidFill>
                  <a:srgbClr val="10384F"/>
                </a:solidFill>
              </a:rPr>
              <a:t>of the post, the respective elements can be easily animated. However, </a:t>
            </a:r>
            <a:br>
              <a:rPr lang="en-US" sz="1200" dirty="0">
                <a:solidFill>
                  <a:srgbClr val="10384F"/>
                </a:solidFill>
              </a:rPr>
            </a:br>
            <a:r>
              <a:rPr lang="en-US" sz="1200" dirty="0">
                <a:solidFill>
                  <a:srgbClr val="10384F"/>
                </a:solidFill>
              </a:rPr>
              <a:t>it is advisable to limit the animation to a few basic animations in order not to distract from the essential content. </a:t>
            </a:r>
          </a:p>
          <a:p>
            <a:pPr marL="0" lvl="1" indent="0">
              <a:spcAft>
                <a:spcPts val="300"/>
              </a:spcAft>
              <a:buNone/>
            </a:pPr>
            <a:endParaRPr lang="en-US" sz="1200" dirty="0">
              <a:solidFill>
                <a:srgbClr val="10384F"/>
              </a:solidFill>
            </a:endParaRPr>
          </a:p>
          <a:p>
            <a:pPr marL="0" lvl="1" indent="0">
              <a:spcAft>
                <a:spcPts val="300"/>
              </a:spcAft>
              <a:buNone/>
            </a:pPr>
            <a:r>
              <a:rPr lang="en-US" sz="1200" b="1" dirty="0">
                <a:solidFill>
                  <a:srgbClr val="10384F"/>
                </a:solidFill>
              </a:rPr>
              <a:t>To do this, proceed as follows:</a:t>
            </a:r>
          </a:p>
          <a:p>
            <a:pPr marL="144000" lvl="1" indent="-144000">
              <a:spcAft>
                <a:spcPts val="300"/>
              </a:spcAft>
              <a:buBlip>
                <a:blip r:embed="rId7"/>
              </a:buBlip>
            </a:pPr>
            <a:r>
              <a:rPr lang="en-US" sz="1200" dirty="0">
                <a:solidFill>
                  <a:srgbClr val="10384F"/>
                </a:solidFill>
              </a:rPr>
              <a:t>Click the element that </a:t>
            </a:r>
            <a:br>
              <a:rPr lang="en-US" sz="1200" dirty="0">
                <a:solidFill>
                  <a:srgbClr val="10384F"/>
                </a:solidFill>
              </a:rPr>
            </a:br>
            <a:r>
              <a:rPr lang="en-US" sz="1200" dirty="0">
                <a:solidFill>
                  <a:srgbClr val="10384F"/>
                </a:solidFill>
              </a:rPr>
              <a:t>you want to animate </a:t>
            </a:r>
          </a:p>
          <a:p>
            <a:pPr marL="144000" lvl="1" indent="-144000">
              <a:spcAft>
                <a:spcPts val="300"/>
              </a:spcAft>
              <a:buBlip>
                <a:blip r:embed="rId7"/>
              </a:buBlip>
            </a:pPr>
            <a:r>
              <a:rPr lang="en-US" sz="1200" dirty="0">
                <a:solidFill>
                  <a:srgbClr val="10384F"/>
                </a:solidFill>
              </a:rPr>
              <a:t>In the animation area, select </a:t>
            </a:r>
            <a:br>
              <a:rPr lang="en-US" sz="1200" dirty="0">
                <a:solidFill>
                  <a:srgbClr val="10384F"/>
                </a:solidFill>
              </a:rPr>
            </a:br>
            <a:r>
              <a:rPr lang="en-US" sz="1200" dirty="0">
                <a:solidFill>
                  <a:srgbClr val="10384F"/>
                </a:solidFill>
              </a:rPr>
              <a:t>the animation you want </a:t>
            </a:r>
          </a:p>
        </p:txBody>
      </p:sp>
      <p:sp>
        <p:nvSpPr>
          <p:cNvPr id="44" name="Untertitel 1"/>
          <p:cNvSpPr txBox="1">
            <a:spLocks/>
          </p:cNvSpPr>
          <p:nvPr/>
        </p:nvSpPr>
        <p:spPr bwMode="gray">
          <a:xfrm>
            <a:off x="3319152" y="1695894"/>
            <a:ext cx="3936413" cy="25198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/>
              <a:t>Animated Post Example </a:t>
            </a:r>
            <a:r>
              <a:rPr lang="en-US" sz="1200" i="1" dirty="0"/>
              <a:t>(click below on ‘Play’ button)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2EF5BA3C-6185-4FE6-9016-649CD6C0AD39}"/>
              </a:ext>
            </a:extLst>
          </p:cNvPr>
          <p:cNvSpPr txBox="1">
            <a:spLocks/>
          </p:cNvSpPr>
          <p:nvPr/>
        </p:nvSpPr>
        <p:spPr bwMode="gray">
          <a:xfrm>
            <a:off x="8382690" y="2287559"/>
            <a:ext cx="3939152" cy="61555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Aft>
                <a:spcPts val="300"/>
              </a:spcAft>
              <a:buNone/>
            </a:pPr>
            <a:r>
              <a:rPr lang="en-US" sz="1400" b="1" dirty="0">
                <a:solidFill>
                  <a:srgbClr val="10384F"/>
                </a:solidFill>
              </a:rPr>
              <a:t>Wipe-in animation</a:t>
            </a:r>
          </a:p>
          <a:p>
            <a:pPr marL="0" lvl="1" indent="0">
              <a:spcAft>
                <a:spcPts val="300"/>
              </a:spcAft>
              <a:buNone/>
            </a:pPr>
            <a:r>
              <a:rPr lang="en-US" sz="1050" dirty="0">
                <a:solidFill>
                  <a:srgbClr val="10384F"/>
                </a:solidFill>
              </a:rPr>
              <a:t>The Element comes wiped </a:t>
            </a:r>
            <a:br>
              <a:rPr lang="en-US" sz="1050" dirty="0">
                <a:solidFill>
                  <a:srgbClr val="10384F"/>
                </a:solidFill>
              </a:rPr>
            </a:br>
            <a:r>
              <a:rPr lang="en-US" sz="1050" dirty="0">
                <a:solidFill>
                  <a:srgbClr val="10384F"/>
                </a:solidFill>
              </a:rPr>
              <a:t>in from a desired direction 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2EF5BA3C-6185-4FE6-9016-649CD6C0AD39}"/>
              </a:ext>
            </a:extLst>
          </p:cNvPr>
          <p:cNvSpPr txBox="1">
            <a:spLocks/>
          </p:cNvSpPr>
          <p:nvPr/>
        </p:nvSpPr>
        <p:spPr bwMode="gray">
          <a:xfrm>
            <a:off x="8382690" y="4878396"/>
            <a:ext cx="3939152" cy="93871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Aft>
                <a:spcPts val="300"/>
              </a:spcAft>
              <a:buNone/>
            </a:pPr>
            <a:r>
              <a:rPr lang="en-US" sz="1400" b="1" dirty="0">
                <a:solidFill>
                  <a:srgbClr val="10384F"/>
                </a:solidFill>
              </a:rPr>
              <a:t>Export as animated file</a:t>
            </a:r>
            <a:endParaRPr lang="en-US" sz="1050" dirty="0">
              <a:solidFill>
                <a:srgbClr val="10384F"/>
              </a:solidFill>
            </a:endParaRPr>
          </a:p>
          <a:p>
            <a:pPr marL="0" lvl="1" indent="0">
              <a:spcAft>
                <a:spcPts val="300"/>
              </a:spcAft>
              <a:buNone/>
            </a:pPr>
            <a:r>
              <a:rPr lang="en-US" sz="1050" dirty="0">
                <a:solidFill>
                  <a:srgbClr val="10384F"/>
                </a:solidFill>
              </a:rPr>
              <a:t>To export the design for the post on the</a:t>
            </a:r>
            <a:br>
              <a:rPr lang="en-US" sz="1050" dirty="0">
                <a:solidFill>
                  <a:srgbClr val="10384F"/>
                </a:solidFill>
              </a:rPr>
            </a:br>
            <a:r>
              <a:rPr lang="en-US" sz="1050" dirty="0">
                <a:solidFill>
                  <a:srgbClr val="10384F"/>
                </a:solidFill>
              </a:rPr>
              <a:t>social media platform as animated file, </a:t>
            </a:r>
            <a:br>
              <a:rPr lang="en-US" sz="1050" dirty="0">
                <a:solidFill>
                  <a:srgbClr val="10384F"/>
                </a:solidFill>
              </a:rPr>
            </a:br>
            <a:r>
              <a:rPr lang="en-US" sz="1050" dirty="0">
                <a:solidFill>
                  <a:srgbClr val="10384F"/>
                </a:solidFill>
              </a:rPr>
              <a:t>click on “Save as” -&gt; “Windows Media Video” </a:t>
            </a:r>
            <a:br>
              <a:rPr lang="en-US" sz="1050" dirty="0">
                <a:solidFill>
                  <a:srgbClr val="10384F"/>
                </a:solidFill>
              </a:rPr>
            </a:br>
            <a:r>
              <a:rPr lang="en-US" sz="1050" dirty="0">
                <a:solidFill>
                  <a:srgbClr val="10384F"/>
                </a:solidFill>
              </a:rPr>
              <a:t>or “MP4”.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2EF5BA3C-6185-4FE6-9016-649CD6C0AD39}"/>
              </a:ext>
            </a:extLst>
          </p:cNvPr>
          <p:cNvSpPr txBox="1">
            <a:spLocks/>
          </p:cNvSpPr>
          <p:nvPr/>
        </p:nvSpPr>
        <p:spPr bwMode="gray">
          <a:xfrm>
            <a:off x="8382690" y="3686608"/>
            <a:ext cx="3939152" cy="453970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1080000" indent="-270000" algn="l" defTabSz="914400" rtl="0" eaLnBrk="1" latinLnBrk="0" hangingPunct="1">
              <a:spcBef>
                <a:spcPts val="300"/>
              </a:spcBef>
              <a:spcAft>
                <a:spcPts val="600"/>
              </a:spcAft>
              <a:buFontTx/>
              <a:buBlip>
                <a:blip r:embed="rId6"/>
              </a:buBlip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Aft>
                <a:spcPts val="300"/>
              </a:spcAft>
              <a:buNone/>
            </a:pPr>
            <a:r>
              <a:rPr lang="en-US" sz="1400" b="1" dirty="0">
                <a:solidFill>
                  <a:srgbClr val="10384F"/>
                </a:solidFill>
              </a:rPr>
              <a:t>Fade-in animation</a:t>
            </a:r>
          </a:p>
          <a:p>
            <a:pPr marL="0" lvl="1" indent="0">
              <a:spcAft>
                <a:spcPts val="300"/>
              </a:spcAft>
              <a:buNone/>
            </a:pPr>
            <a:r>
              <a:rPr lang="en-US" sz="1050" dirty="0">
                <a:solidFill>
                  <a:srgbClr val="10384F"/>
                </a:solidFill>
              </a:rPr>
              <a:t>The element is faded in softly. </a:t>
            </a:r>
          </a:p>
        </p:txBody>
      </p:sp>
      <p:pic>
        <p:nvPicPr>
          <p:cNvPr id="96" name="Grafik 95">
            <a:extLst>
              <a:ext uri="{FF2B5EF4-FFF2-40B4-BE49-F238E27FC236}">
                <a16:creationId xmlns:a16="http://schemas.microsoft.com/office/drawing/2014/main" id="{EA871701-F455-4CB2-BEDD-F120D400BE7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50" y="5118526"/>
            <a:ext cx="2006232" cy="626223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grpSp>
        <p:nvGrpSpPr>
          <p:cNvPr id="21" name="Gruppieren 20"/>
          <p:cNvGrpSpPr/>
          <p:nvPr/>
        </p:nvGrpSpPr>
        <p:grpSpPr>
          <a:xfrm>
            <a:off x="6689189" y="4098730"/>
            <a:ext cx="1468264" cy="58222"/>
            <a:chOff x="6689189" y="4098730"/>
            <a:chExt cx="1468264" cy="58222"/>
          </a:xfrm>
        </p:grpSpPr>
        <p:cxnSp>
          <p:nvCxnSpPr>
            <p:cNvPr id="101" name="Gerade Verbindung 68">
              <a:extLst>
                <a:ext uri="{FF2B5EF4-FFF2-40B4-BE49-F238E27FC236}">
                  <a16:creationId xmlns:a16="http://schemas.microsoft.com/office/drawing/2014/main" id="{7D1F2F41-6EFE-43E7-8759-562593A8E033}"/>
                </a:ext>
              </a:extLst>
            </p:cNvPr>
            <p:cNvCxnSpPr/>
            <p:nvPr/>
          </p:nvCxnSpPr>
          <p:spPr bwMode="gray">
            <a:xfrm>
              <a:off x="6711157" y="4127841"/>
              <a:ext cx="1446296" cy="0"/>
            </a:xfrm>
            <a:prstGeom prst="line">
              <a:avLst/>
            </a:prstGeom>
            <a:ln w="6350">
              <a:solidFill>
                <a:srgbClr val="89D32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2" name="Ellipse 101">
              <a:extLst>
                <a:ext uri="{FF2B5EF4-FFF2-40B4-BE49-F238E27FC236}">
                  <a16:creationId xmlns:a16="http://schemas.microsoft.com/office/drawing/2014/main" id="{BC10A08B-2AEE-461A-B203-6F374835BB64}"/>
                </a:ext>
              </a:extLst>
            </p:cNvPr>
            <p:cNvSpPr/>
            <p:nvPr/>
          </p:nvSpPr>
          <p:spPr bwMode="gray">
            <a:xfrm flipH="1">
              <a:off x="6689189" y="4098730"/>
              <a:ext cx="58222" cy="58222"/>
            </a:xfrm>
            <a:prstGeom prst="ellipse">
              <a:avLst/>
            </a:prstGeom>
            <a:solidFill>
              <a:srgbClr val="89D3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800" b="0" i="0" u="none" baseline="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pic>
        <p:nvPicPr>
          <p:cNvPr id="103" name="Grafik 102">
            <a:extLst>
              <a:ext uri="{FF2B5EF4-FFF2-40B4-BE49-F238E27FC236}">
                <a16:creationId xmlns:a16="http://schemas.microsoft.com/office/drawing/2014/main" id="{D76ED7D5-BA37-4949-9ED6-A1C62E896E22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793" r="-1" b="14314"/>
          <a:stretch/>
        </p:blipFill>
        <p:spPr>
          <a:xfrm>
            <a:off x="8382690" y="4196255"/>
            <a:ext cx="444112" cy="49879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</p:pic>
      <p:pic>
        <p:nvPicPr>
          <p:cNvPr id="104" name="Grafik 103">
            <a:extLst>
              <a:ext uri="{FF2B5EF4-FFF2-40B4-BE49-F238E27FC236}">
                <a16:creationId xmlns:a16="http://schemas.microsoft.com/office/drawing/2014/main" id="{AF584423-1E65-4E1F-B809-6C7F269AEB52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283" r="3647" b="15730"/>
          <a:stretch/>
        </p:blipFill>
        <p:spPr>
          <a:xfrm>
            <a:off x="8382690" y="2927219"/>
            <a:ext cx="449676" cy="492255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grpSp>
        <p:nvGrpSpPr>
          <p:cNvPr id="18" name="Gruppieren 17"/>
          <p:cNvGrpSpPr/>
          <p:nvPr/>
        </p:nvGrpSpPr>
        <p:grpSpPr>
          <a:xfrm>
            <a:off x="5454107" y="2842137"/>
            <a:ext cx="2743221" cy="58222"/>
            <a:chOff x="5454107" y="2842137"/>
            <a:chExt cx="2743221" cy="58222"/>
          </a:xfrm>
        </p:grpSpPr>
        <p:cxnSp>
          <p:nvCxnSpPr>
            <p:cNvPr id="98" name="Gerade Verbindung 68">
              <a:extLst>
                <a:ext uri="{FF2B5EF4-FFF2-40B4-BE49-F238E27FC236}">
                  <a16:creationId xmlns:a16="http://schemas.microsoft.com/office/drawing/2014/main" id="{CA455ECF-B394-415C-B212-11E92E1F778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505186" y="2871248"/>
              <a:ext cx="2692142" cy="0"/>
            </a:xfrm>
            <a:prstGeom prst="line">
              <a:avLst/>
            </a:prstGeom>
            <a:ln w="6350">
              <a:solidFill>
                <a:srgbClr val="89D32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Ellipse 98">
              <a:extLst>
                <a:ext uri="{FF2B5EF4-FFF2-40B4-BE49-F238E27FC236}">
                  <a16:creationId xmlns:a16="http://schemas.microsoft.com/office/drawing/2014/main" id="{89251A54-FA5C-44DA-94CD-37130F36267B}"/>
                </a:ext>
              </a:extLst>
            </p:cNvPr>
            <p:cNvSpPr/>
            <p:nvPr/>
          </p:nvSpPr>
          <p:spPr bwMode="gray">
            <a:xfrm flipH="1">
              <a:off x="5454107" y="2842137"/>
              <a:ext cx="58222" cy="58222"/>
            </a:xfrm>
            <a:prstGeom prst="ellipse">
              <a:avLst/>
            </a:prstGeom>
            <a:solidFill>
              <a:srgbClr val="89D32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endParaRPr lang="de-DE" sz="1800" b="0" i="0" u="none" baseline="0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22" name="Fußzeilenplatzhalter 18">
            <a:extLst>
              <a:ext uri="{FF2B5EF4-FFF2-40B4-BE49-F238E27FC236}">
                <a16:creationId xmlns:a16="http://schemas.microsoft.com/office/drawing/2014/main" id="{8EA69DD0-C9D4-4207-9FFF-BCAAD48945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74672" y="6617933"/>
            <a:ext cx="8640000" cy="108000"/>
          </a:xfrm>
        </p:spPr>
        <p:txBody>
          <a:bodyPr/>
          <a:lstStyle/>
          <a:p>
            <a:r>
              <a:rPr lang="en-US" dirty="0"/>
              <a:t>/// Bayer Communications /// Quick Design Guide Social Media /// November 2021</a:t>
            </a:r>
          </a:p>
        </p:txBody>
      </p:sp>
    </p:spTree>
    <p:extLst>
      <p:ext uri="{BB962C8B-B14F-4D97-AF65-F5344CB8AC3E}">
        <p14:creationId xmlns:p14="http://schemas.microsoft.com/office/powerpoint/2010/main" val="3401974169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808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remove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Untertitel 1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Thank you!</a:t>
            </a:r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AD9179-7A6B-4268-BEB2-F3B8EB06115B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3" name="Bildplatzhalter 2"/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07" r="25007"/>
          <a:stretch>
            <a:fillRect/>
          </a:stretch>
        </p:blipFill>
        <p:spPr/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34465C-A3F1-40EE-8672-2E0D90B62B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976788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+8GqP+uD2xPlkROpvBVj88FAAAAAAADAAAAAwADAAAAAQADAAEA////////BAAAAAMAEAALj9VxgG+zm0KjCe7zA6vtpA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O8GqP+uD2xPlkROpvBVj88DRGF0YQAbAAAABExpbmtlZFNoYXBlRGF0YQAFAAAAAAACTmFtZQAZAAAATGlua2VkU2hhcGVzRGF0YVByb3BlcnR5ABBWZXJzaW9uAAAAAAAJTGFzdFdyaXRlAGVaSuZ5AQAAAAEA/////50AnQAAAAVfaWQAEAAAAASP1XGAb7ObQqMJ7vMDq+2kA0RhdGEAKgAAAAhQcmVzZW50YXRpb25TY2FubmVkRm9yTGlua2VkU2hhcGVzAAEAAk5hbWUAJAAAAExpbmtlZFNoYXBlUHJlc2VudGF0aW9uU2V0dGluZ3NEYXRhABBWZXJzaW9uAAAAAAAJTGFzdFdyaXRlAKxaSuZ5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6"/>
  <p:tag name="MIO_HDS" val="True"/>
  <p:tag name="MIO_SKIPVERSION" val="01.01.0001 00:00:00"/>
  <p:tag name="MIO_EKGUID" val="106612b7-7cda-4c66-a943-3c88b56a92d2"/>
  <p:tag name="MIO_UPDATE" val="True"/>
  <p:tag name="MIO_VERSION" val="05.09.2018 15:12:17"/>
  <p:tag name="MIO_DBID" val="8E7267AE-489F-4B02-8040-8A98451BF141"/>
  <p:tag name="MIO_LASTDOWNLOADED" val="25.09.2018 11:11:43"/>
  <p:tag name="MIO_OBJECTNAME" val="Master Bayer AG 16:9 pre final"/>
  <p:tag name="MIO_CDID" val="cd9a71c7-8ed9-41a1-8303-1a6d1985851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6"/>
  <p:tag name="MIO_HDS" val="True"/>
  <p:tag name="MIO_SKIPVERSION" val="01.01.0001 00:00:00"/>
  <p:tag name="MIO_EKGUID" val="106612b7-7cda-4c66-a943-3c88b56a92d2"/>
  <p:tag name="MIO_UPDATE" val="True"/>
  <p:tag name="MIO_VERSION" val="05.09.2018 15:12:17"/>
  <p:tag name="MIO_DBID" val="8E7267AE-489F-4B02-8040-8A98451BF141"/>
  <p:tag name="MIO_LASTDOWNLOADED" val="25.09.2018 11:11:43"/>
  <p:tag name="MIO_OBJECTNAME" val="Master Bayer AG 16:9 pre final"/>
  <p:tag name="MIO_CDID" val="cd9a71c7-8ed9-41a1-8303-1a6d1985851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6"/>
  <p:tag name="MIO_HDS" val="True"/>
  <p:tag name="MIO_SKIPVERSION" val="01.01.0001 00:00:00"/>
  <p:tag name="MIO_EKGUID" val="106612b7-7cda-4c66-a943-3c88b56a92d2"/>
  <p:tag name="MIO_UPDATE" val="True"/>
  <p:tag name="MIO_VERSION" val="05.09.2018 15:12:17"/>
  <p:tag name="MIO_DBID" val="8E7267AE-489F-4B02-8040-8A98451BF141"/>
  <p:tag name="MIO_LASTDOWNLOADED" val="25.09.2018 11:11:43"/>
  <p:tag name="MIO_OBJECTNAME" val="Master Bayer AG 16:9 pre final"/>
  <p:tag name="MIO_CDID" val="cd9a71c7-8ed9-41a1-8303-1a6d1985851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6"/>
  <p:tag name="MIO_HDS" val="True"/>
  <p:tag name="MIO_SKIPVERSION" val="01.01.0001 00:00:00"/>
  <p:tag name="MIO_EKGUID" val="106612b7-7cda-4c66-a943-3c88b56a92d2"/>
  <p:tag name="MIO_UPDATE" val="True"/>
  <p:tag name="MIO_VERSION" val="05.09.2018 15:12:17"/>
  <p:tag name="MIO_DBID" val="8E7267AE-489F-4B02-8040-8A98451BF141"/>
  <p:tag name="MIO_LASTDOWNLOADED" val="25.09.2018 11:11:43"/>
  <p:tag name="MIO_OBJECTNAME" val="Master Bayer AG 16:9 pre final"/>
  <p:tag name="MIO_CDID" val="cd9a71c7-8ed9-41a1-8303-1a6d1985851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6"/>
  <p:tag name="MIO_HDS" val="True"/>
  <p:tag name="MIO_SKIPVERSION" val="01.01.0001 00:00:00"/>
  <p:tag name="MIO_EKGUID" val="106612b7-7cda-4c66-a943-3c88b56a92d2"/>
  <p:tag name="MIO_UPDATE" val="True"/>
  <p:tag name="MIO_VERSION" val="05.09.2018 15:12:17"/>
  <p:tag name="MIO_DBID" val="8E7267AE-489F-4B02-8040-8A98451BF141"/>
  <p:tag name="MIO_LASTDOWNLOADED" val="06.09.2018 11:39:48"/>
  <p:tag name="MIO_OBJECTNAME" val="Master Bayer AG 16:9 pre final"/>
  <p:tag name="MIO_CDID" val="cd9a71c7-8ed9-41a1-8303-1a6d1985851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1_PR_BAG_PPT-mast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Präsentation2" id="{9F44F183-6967-4C37-BC3A-F846C6343AA8}" vid="{2CD6D4D1-CF9C-4B16-993C-2A26F7415D1B}"/>
    </a:ext>
  </a:extLst>
</a:theme>
</file>

<file path=ppt/theme/theme2.xml><?xml version="1.0" encoding="utf-8"?>
<a:theme xmlns:a="http://schemas.openxmlformats.org/drawingml/2006/main" name="2_PR_BG_Title-slides_16-9_2019-09-04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Präsentation5" id="{FE40C47C-F079-4000-A73F-67140F457692}" vid="{31758418-F63E-42BF-9EC2-78A252D5EC4E}"/>
    </a:ext>
  </a:extLst>
</a:theme>
</file>

<file path=ppt/theme/theme3.xml><?xml version="1.0" encoding="utf-8"?>
<a:theme xmlns:a="http://schemas.openxmlformats.org/drawingml/2006/main" name="PR_BAG_PPT-master_16-9_2018-09-25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Präsentation2" id="{9F44F183-6967-4C37-BC3A-F846C6343AA8}" vid="{2CD6D4D1-CF9C-4B16-993C-2A26F7415D1B}"/>
    </a:ext>
  </a:extLst>
</a:theme>
</file>

<file path=ppt/theme/theme4.xml><?xml version="1.0" encoding="utf-8"?>
<a:theme xmlns:a="http://schemas.openxmlformats.org/drawingml/2006/main" name="1_PR_BAG_PPT-master_16-9_2018-09-25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Präsentation2" id="{9F44F183-6967-4C37-BC3A-F846C6343AA8}" vid="{2CD6D4D1-CF9C-4B16-993C-2A26F7415D1B}"/>
    </a:ext>
  </a:extLst>
</a:theme>
</file>

<file path=ppt/theme/theme5.xml><?xml version="1.0" encoding="utf-8"?>
<a:theme xmlns:a="http://schemas.openxmlformats.org/drawingml/2006/main" name="2_PR_BAG_PPT-master_16-9_2018-09-25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Präsentation2" id="{9F44F183-6967-4C37-BC3A-F846C6343AA8}" vid="{2CD6D4D1-CF9C-4B16-993C-2A26F7415D1B}"/>
    </a:ext>
  </a:extLst>
</a:theme>
</file>

<file path=ppt/theme/theme6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185998DB44CE46B991406DF9A4D70C" ma:contentTypeVersion="4" ma:contentTypeDescription="Create a new document." ma:contentTypeScope="" ma:versionID="20e5d69bc091ff62c83779d17bfd556f">
  <xsd:schema xmlns:xsd="http://www.w3.org/2001/XMLSchema" xmlns:xs="http://www.w3.org/2001/XMLSchema" xmlns:p="http://schemas.microsoft.com/office/2006/metadata/properties" xmlns:ns1="http://schemas.microsoft.com/sharepoint/v3" xmlns:ns2="1a4d292e-883c-434b-96e3-060cfff16c86" xmlns:ns3="d4411fbc-0689-456a-854f-f7260c830c29" targetNamespace="http://schemas.microsoft.com/office/2006/metadata/properties" ma:root="true" ma:fieldsID="340e43708d1cc328c0b9fb5b48b40c23" ns1:_="" ns2:_="" ns3:_="">
    <xsd:import namespace="http://schemas.microsoft.com/sharepoint/v3"/>
    <xsd:import namespace="1a4d292e-883c-434b-96e3-060cfff16c86"/>
    <xsd:import namespace="d4411fbc-0689-456a-854f-f7260c830c29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1:_dlc_Exempt" minOccurs="0"/>
                <xsd:element ref="ns1:_dlc_ExpireDateSaved" minOccurs="0"/>
                <xsd:element ref="ns1:_dlc_ExpireDate" minOccurs="0"/>
                <xsd:element ref="ns3:MediaServiceFastMetadata" minOccurs="0"/>
                <xsd:element ref="ns3:MediaService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0" nillable="true" ma:displayName="Exempt from Policy" ma:hidden="true" ma:internalName="_dlc_Exempt" ma:readOnly="false">
      <xsd:simpleType>
        <xsd:restriction base="dms:Unknown"/>
      </xsd:simpleType>
    </xsd:element>
    <xsd:element name="_dlc_ExpireDateSaved" ma:index="11" nillable="true" ma:displayName="Original Expiration Date" ma:hidden="true" ma:internalName="_dlc_ExpireDateSaved" ma:readOnly="false">
      <xsd:simpleType>
        <xsd:restriction base="dms:DateTime"/>
      </xsd:simpleType>
    </xsd:element>
    <xsd:element name="_dlc_ExpireDate" ma:index="12" nillable="true" ma:displayName="Expiration Date" ma:hidden="true" ma:internalName="_dlc_Expire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4d292e-883c-434b-96e3-060cfff16c86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fcf364a7-8ecc-49ac-9167-8ca7d3f5c98d}" ma:internalName="TaxCatchAll" ma:showField="CatchAllData" ma:web="9739b157-b6b2-4a93-a9ec-8c877aa6948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fcf364a7-8ecc-49ac-9167-8ca7d3f5c98d}" ma:internalName="TaxCatchAllLabel" ma:readOnly="true" ma:showField="CatchAllDataLabel" ma:web="9739b157-b6b2-4a93-a9ec-8c877aa6948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411fbc-0689-456a-854f-f7260c830c29" elementFormDefault="qualified">
    <xsd:import namespace="http://schemas.microsoft.com/office/2006/documentManagement/types"/>
    <xsd:import namespace="http://schemas.microsoft.com/office/infopath/2007/PartnerControls"/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haredContentType xmlns="Microsoft.SharePoint.Taxonomy.ContentTypeSync" SourceId="7bc43322-b630-4bac-8b27-31def233d1d0" ContentTypeId="0x0101" PreviousValue="false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a4d292e-883c-434b-96e3-060cfff16c86"/>
    <_dlc_ExpireDateSaved xmlns="http://schemas.microsoft.com/sharepoint/v3" xsi:nil="true"/>
    <_dlc_ExpireDate xmlns="http://schemas.microsoft.com/sharepoint/v3" xsi:nil="true"/>
    <_dlc_Exempt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9EC59C5C-81E0-4F69-8F13-032ACED8FF3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a4d292e-883c-434b-96e3-060cfff16c86"/>
    <ds:schemaRef ds:uri="d4411fbc-0689-456a-854f-f7260c830c2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BC6E5E8-4F9F-426F-B0D1-FA5070C36B7D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64EF0B9A-3862-4867-86D2-7CFE2D3537C6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66AFC047-30E2-4725-A209-7A1E339DA93C}">
  <ds:schemaRefs>
    <ds:schemaRef ds:uri="http://schemas.microsoft.com/sharepoint/v3"/>
    <ds:schemaRef ds:uri="http://purl.org/dc/elements/1.1/"/>
    <ds:schemaRef ds:uri="1a4d292e-883c-434b-96e3-060cfff16c86"/>
    <ds:schemaRef ds:uri="http://www.w3.org/XML/1998/namespace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d4411fbc-0689-456a-854f-f7260c830c29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_BAG_PPT-master_16-9_2018-09-25</Template>
  <TotalTime>58</TotalTime>
  <Words>569</Words>
  <Application>Microsoft Office PowerPoint</Application>
  <PresentationFormat>Custom</PresentationFormat>
  <Paragraphs>72</Paragraphs>
  <Slides>7</Slides>
  <Notes>7</Notes>
  <HiddenSlides>0</HiddenSlides>
  <MMClips>1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5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1_PR_BAG_PPT-master_16-9</vt:lpstr>
      <vt:lpstr>2_PR_BG_Title-slides_16-9_2019-09-04</vt:lpstr>
      <vt:lpstr>PR_BAG_PPT-master_16-9_2018-09-25</vt:lpstr>
      <vt:lpstr>1_PR_BAG_PPT-master_16-9_2018-09-25</vt:lpstr>
      <vt:lpstr>2_PR_BAG_PPT-master_16-9_2018-09-25</vt:lpstr>
      <vt:lpstr>Social Media</vt:lpstr>
      <vt:lpstr>Introduction</vt:lpstr>
      <vt:lpstr>Post Types</vt:lpstr>
      <vt:lpstr>Post Types</vt:lpstr>
      <vt:lpstr>Edit basic Post </vt:lpstr>
      <vt:lpstr>Edit animated Post 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urice Reimann</dc:creator>
  <cp:lastModifiedBy>Olena Antonova</cp:lastModifiedBy>
  <cp:revision>257</cp:revision>
  <cp:lastPrinted>2017-10-23T10:44:12Z</cp:lastPrinted>
  <dcterms:created xsi:type="dcterms:W3CDTF">2021-05-31T08:22:43Z</dcterms:created>
  <dcterms:modified xsi:type="dcterms:W3CDTF">2021-11-24T11:28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LabelPos">
    <vt:lpwstr>836;514;810;514;854;514</vt:lpwstr>
  </property>
  <property fmtid="{D5CDD505-2E9C-101B-9397-08002B2CF9AE}" pid="3" name="ContentTypeId">
    <vt:lpwstr>0x0101004D185998DB44CE46B991406DF9A4D70C</vt:lpwstr>
  </property>
  <property fmtid="{D5CDD505-2E9C-101B-9397-08002B2CF9AE}" pid="4" name="MSIP_Label_7f850223-87a8-40c3-9eb2-432606efca2a_Enabled">
    <vt:lpwstr>True</vt:lpwstr>
  </property>
  <property fmtid="{D5CDD505-2E9C-101B-9397-08002B2CF9AE}" pid="5" name="MSIP_Label_7f850223-87a8-40c3-9eb2-432606efca2a_SiteId">
    <vt:lpwstr>fcb2b37b-5da0-466b-9b83-0014b67a7c78</vt:lpwstr>
  </property>
  <property fmtid="{D5CDD505-2E9C-101B-9397-08002B2CF9AE}" pid="6" name="MSIP_Label_7f850223-87a8-40c3-9eb2-432606efca2a_Owner">
    <vt:lpwstr>olena.antonova@bayer.com</vt:lpwstr>
  </property>
  <property fmtid="{D5CDD505-2E9C-101B-9397-08002B2CF9AE}" pid="7" name="MSIP_Label_7f850223-87a8-40c3-9eb2-432606efca2a_SetDate">
    <vt:lpwstr>2021-11-24T11:28:36.1248679Z</vt:lpwstr>
  </property>
  <property fmtid="{D5CDD505-2E9C-101B-9397-08002B2CF9AE}" pid="8" name="MSIP_Label_7f850223-87a8-40c3-9eb2-432606efca2a_Name">
    <vt:lpwstr>NO CLASSIFICATION</vt:lpwstr>
  </property>
  <property fmtid="{D5CDD505-2E9C-101B-9397-08002B2CF9AE}" pid="9" name="MSIP_Label_7f850223-87a8-40c3-9eb2-432606efca2a_Application">
    <vt:lpwstr>Microsoft Azure Information Protection</vt:lpwstr>
  </property>
  <property fmtid="{D5CDD505-2E9C-101B-9397-08002B2CF9AE}" pid="10" name="MSIP_Label_7f850223-87a8-40c3-9eb2-432606efca2a_Extended_MSFT_Method">
    <vt:lpwstr>Manual</vt:lpwstr>
  </property>
  <property fmtid="{D5CDD505-2E9C-101B-9397-08002B2CF9AE}" pid="11" name="Sensitivity">
    <vt:lpwstr>NO CLASSIFICATION</vt:lpwstr>
  </property>
</Properties>
</file>